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39" r:id="rId2"/>
    <p:sldMasterId id="2147483753" r:id="rId3"/>
    <p:sldMasterId id="2147483767" r:id="rId4"/>
    <p:sldMasterId id="2147484329" r:id="rId5"/>
  </p:sldMasterIdLst>
  <p:notesMasterIdLst>
    <p:notesMasterId r:id="rId24"/>
  </p:notesMasterIdLst>
  <p:sldIdLst>
    <p:sldId id="907" r:id="rId6"/>
    <p:sldId id="290" r:id="rId7"/>
    <p:sldId id="2147471949" r:id="rId8"/>
    <p:sldId id="2147471950" r:id="rId9"/>
    <p:sldId id="2147471951" r:id="rId10"/>
    <p:sldId id="295" r:id="rId11"/>
    <p:sldId id="2147471946" r:id="rId12"/>
    <p:sldId id="2147471947" r:id="rId13"/>
    <p:sldId id="2147471948" r:id="rId14"/>
    <p:sldId id="289" r:id="rId15"/>
    <p:sldId id="293" r:id="rId16"/>
    <p:sldId id="287" r:id="rId17"/>
    <p:sldId id="282" r:id="rId18"/>
    <p:sldId id="2147472198" r:id="rId19"/>
    <p:sldId id="2147472199" r:id="rId20"/>
    <p:sldId id="2147472197" r:id="rId21"/>
    <p:sldId id="283" r:id="rId22"/>
    <p:sldId id="2147471981" r:id="rId2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5608A19-C3D3-43E6-860E-454302617F17}">
          <p14:sldIdLst/>
        </p14:section>
        <p14:section name="Untitled Section" id="{DD052F88-1CED-4AC7-AD90-273DFAFDED51}">
          <p14:sldIdLst>
            <p14:sldId id="907"/>
            <p14:sldId id="290"/>
            <p14:sldId id="2147471949"/>
            <p14:sldId id="2147471950"/>
            <p14:sldId id="2147471951"/>
            <p14:sldId id="295"/>
            <p14:sldId id="2147471946"/>
            <p14:sldId id="2147471947"/>
            <p14:sldId id="2147471948"/>
            <p14:sldId id="289"/>
            <p14:sldId id="293"/>
            <p14:sldId id="287"/>
            <p14:sldId id="282"/>
          </p14:sldIdLst>
        </p14:section>
        <p14:section name="+ Default" id="{AC21715C-4E5E-4ECE-9836-ED9758247A6E}">
          <p14:sldIdLst>
            <p14:sldId id="2147472198"/>
            <p14:sldId id="2147472199"/>
            <p14:sldId id="2147472197"/>
            <p14:sldId id="283"/>
            <p14:sldId id="214747198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57" d="100"/>
          <a:sy n="57" d="100"/>
        </p:scale>
        <p:origin x="100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-Marie Carrey" userId="f9afc4aa67827740" providerId="LiveId" clId="{89FC2E44-86AF-4521-902E-CA8F8113BB76}"/>
    <pc:docChg chg="delSld delMainMaster modSection">
      <pc:chgData name="Ann-Marie Carrey" userId="f9afc4aa67827740" providerId="LiveId" clId="{89FC2E44-86AF-4521-902E-CA8F8113BB76}" dt="2026-07-02T10:36:14.817" v="23" actId="2696"/>
      <pc:docMkLst>
        <pc:docMk/>
      </pc:docMkLst>
      <pc:sldChg chg="del">
        <pc:chgData name="Ann-Marie Carrey" userId="f9afc4aa67827740" providerId="LiveId" clId="{89FC2E44-86AF-4521-902E-CA8F8113BB76}" dt="2026-07-02T10:35:21.053" v="2" actId="2696"/>
        <pc:sldMkLst>
          <pc:docMk/>
          <pc:sldMk cId="2509463372" sldId="277"/>
        </pc:sldMkLst>
      </pc:sldChg>
      <pc:sldChg chg="del">
        <pc:chgData name="Ann-Marie Carrey" userId="f9afc4aa67827740" providerId="LiveId" clId="{89FC2E44-86AF-4521-902E-CA8F8113BB76}" dt="2026-07-02T10:35:24.966" v="3" actId="2696"/>
        <pc:sldMkLst>
          <pc:docMk/>
          <pc:sldMk cId="1901488047" sldId="278"/>
        </pc:sldMkLst>
      </pc:sldChg>
      <pc:sldChg chg="del">
        <pc:chgData name="Ann-Marie Carrey" userId="f9afc4aa67827740" providerId="LiveId" clId="{89FC2E44-86AF-4521-902E-CA8F8113BB76}" dt="2026-07-02T10:35:58.279" v="15" actId="2696"/>
        <pc:sldMkLst>
          <pc:docMk/>
          <pc:sldMk cId="833931654" sldId="280"/>
        </pc:sldMkLst>
      </pc:sldChg>
      <pc:sldChg chg="del">
        <pc:chgData name="Ann-Marie Carrey" userId="f9afc4aa67827740" providerId="LiveId" clId="{89FC2E44-86AF-4521-902E-CA8F8113BB76}" dt="2026-07-02T10:35:31.919" v="6" actId="2696"/>
        <pc:sldMkLst>
          <pc:docMk/>
          <pc:sldMk cId="3245264935" sldId="297"/>
        </pc:sldMkLst>
      </pc:sldChg>
      <pc:sldChg chg="del">
        <pc:chgData name="Ann-Marie Carrey" userId="f9afc4aa67827740" providerId="LiveId" clId="{89FC2E44-86AF-4521-902E-CA8F8113BB76}" dt="2026-07-02T10:35:30.008" v="5" actId="2696"/>
        <pc:sldMkLst>
          <pc:docMk/>
          <pc:sldMk cId="2312756081" sldId="300"/>
        </pc:sldMkLst>
      </pc:sldChg>
      <pc:sldChg chg="del">
        <pc:chgData name="Ann-Marie Carrey" userId="f9afc4aa67827740" providerId="LiveId" clId="{89FC2E44-86AF-4521-902E-CA8F8113BB76}" dt="2026-07-02T10:32:12.194" v="0" actId="2696"/>
        <pc:sldMkLst>
          <pc:docMk/>
          <pc:sldMk cId="4242663512" sldId="855"/>
        </pc:sldMkLst>
      </pc:sldChg>
      <pc:sldChg chg="del">
        <pc:chgData name="Ann-Marie Carrey" userId="f9afc4aa67827740" providerId="LiveId" clId="{89FC2E44-86AF-4521-902E-CA8F8113BB76}" dt="2026-07-02T10:36:02.428" v="17" actId="2696"/>
        <pc:sldMkLst>
          <pc:docMk/>
          <pc:sldMk cId="3152684661" sldId="2147471930"/>
        </pc:sldMkLst>
      </pc:sldChg>
      <pc:sldChg chg="del">
        <pc:chgData name="Ann-Marie Carrey" userId="f9afc4aa67827740" providerId="LiveId" clId="{89FC2E44-86AF-4521-902E-CA8F8113BB76}" dt="2026-07-02T10:36:08.782" v="20" actId="2696"/>
        <pc:sldMkLst>
          <pc:docMk/>
          <pc:sldMk cId="2486878026" sldId="2147471936"/>
        </pc:sldMkLst>
      </pc:sldChg>
      <pc:sldChg chg="del">
        <pc:chgData name="Ann-Marie Carrey" userId="f9afc4aa67827740" providerId="LiveId" clId="{89FC2E44-86AF-4521-902E-CA8F8113BB76}" dt="2026-07-02T10:36:10.951" v="21" actId="2696"/>
        <pc:sldMkLst>
          <pc:docMk/>
          <pc:sldMk cId="4164887111" sldId="2147471945"/>
        </pc:sldMkLst>
      </pc:sldChg>
      <pc:sldChg chg="del">
        <pc:chgData name="Ann-Marie Carrey" userId="f9afc4aa67827740" providerId="LiveId" clId="{89FC2E44-86AF-4521-902E-CA8F8113BB76}" dt="2026-07-02T10:35:40.660" v="9" actId="2696"/>
        <pc:sldMkLst>
          <pc:docMk/>
          <pc:sldMk cId="1384949499" sldId="2147471960"/>
        </pc:sldMkLst>
      </pc:sldChg>
      <pc:sldChg chg="del">
        <pc:chgData name="Ann-Marie Carrey" userId="f9afc4aa67827740" providerId="LiveId" clId="{89FC2E44-86AF-4521-902E-CA8F8113BB76}" dt="2026-07-02T10:36:04.535" v="18" actId="2696"/>
        <pc:sldMkLst>
          <pc:docMk/>
          <pc:sldMk cId="1160890743" sldId="2147471963"/>
        </pc:sldMkLst>
      </pc:sldChg>
      <pc:sldChg chg="del">
        <pc:chgData name="Ann-Marie Carrey" userId="f9afc4aa67827740" providerId="LiveId" clId="{89FC2E44-86AF-4521-902E-CA8F8113BB76}" dt="2026-07-02T10:35:50.088" v="11" actId="2696"/>
        <pc:sldMkLst>
          <pc:docMk/>
          <pc:sldMk cId="4154207118" sldId="2147471965"/>
        </pc:sldMkLst>
      </pc:sldChg>
      <pc:sldChg chg="del">
        <pc:chgData name="Ann-Marie Carrey" userId="f9afc4aa67827740" providerId="LiveId" clId="{89FC2E44-86AF-4521-902E-CA8F8113BB76}" dt="2026-07-02T10:35:34.133" v="7" actId="2696"/>
        <pc:sldMkLst>
          <pc:docMk/>
          <pc:sldMk cId="1611773862" sldId="2147471966"/>
        </pc:sldMkLst>
      </pc:sldChg>
      <pc:sldChg chg="del">
        <pc:chgData name="Ann-Marie Carrey" userId="f9afc4aa67827740" providerId="LiveId" clId="{89FC2E44-86AF-4521-902E-CA8F8113BB76}" dt="2026-07-02T10:36:00.280" v="16" actId="2696"/>
        <pc:sldMkLst>
          <pc:docMk/>
          <pc:sldMk cId="2547724125" sldId="2147471967"/>
        </pc:sldMkLst>
      </pc:sldChg>
      <pc:sldChg chg="del">
        <pc:chgData name="Ann-Marie Carrey" userId="f9afc4aa67827740" providerId="LiveId" clId="{89FC2E44-86AF-4521-902E-CA8F8113BB76}" dt="2026-07-02T10:36:06.815" v="19" actId="2696"/>
        <pc:sldMkLst>
          <pc:docMk/>
          <pc:sldMk cId="1355722819" sldId="2147471968"/>
        </pc:sldMkLst>
      </pc:sldChg>
      <pc:sldChg chg="del">
        <pc:chgData name="Ann-Marie Carrey" userId="f9afc4aa67827740" providerId="LiveId" clId="{89FC2E44-86AF-4521-902E-CA8F8113BB76}" dt="2026-07-02T10:35:54.304" v="13" actId="2696"/>
        <pc:sldMkLst>
          <pc:docMk/>
          <pc:sldMk cId="3293268516" sldId="2147471969"/>
        </pc:sldMkLst>
      </pc:sldChg>
      <pc:sldChg chg="del">
        <pc:chgData name="Ann-Marie Carrey" userId="f9afc4aa67827740" providerId="LiveId" clId="{89FC2E44-86AF-4521-902E-CA8F8113BB76}" dt="2026-07-02T10:35:52.409" v="12" actId="2696"/>
        <pc:sldMkLst>
          <pc:docMk/>
          <pc:sldMk cId="849059403" sldId="2147471970"/>
        </pc:sldMkLst>
      </pc:sldChg>
      <pc:sldChg chg="del">
        <pc:chgData name="Ann-Marie Carrey" userId="f9afc4aa67827740" providerId="LiveId" clId="{89FC2E44-86AF-4521-902E-CA8F8113BB76}" dt="2026-07-02T10:35:27.670" v="4" actId="2696"/>
        <pc:sldMkLst>
          <pc:docMk/>
          <pc:sldMk cId="1259138993" sldId="2147471971"/>
        </pc:sldMkLst>
      </pc:sldChg>
      <pc:sldChg chg="del">
        <pc:chgData name="Ann-Marie Carrey" userId="f9afc4aa67827740" providerId="LiveId" clId="{89FC2E44-86AF-4521-902E-CA8F8113BB76}" dt="2026-07-02T10:35:18.801" v="1" actId="2696"/>
        <pc:sldMkLst>
          <pc:docMk/>
          <pc:sldMk cId="2730300476" sldId="2147471972"/>
        </pc:sldMkLst>
      </pc:sldChg>
      <pc:sldChg chg="del">
        <pc:chgData name="Ann-Marie Carrey" userId="f9afc4aa67827740" providerId="LiveId" clId="{89FC2E44-86AF-4521-902E-CA8F8113BB76}" dt="2026-07-02T10:36:12.710" v="22" actId="2696"/>
        <pc:sldMkLst>
          <pc:docMk/>
          <pc:sldMk cId="2620824596" sldId="2147471974"/>
        </pc:sldMkLst>
      </pc:sldChg>
      <pc:sldChg chg="del">
        <pc:chgData name="Ann-Marie Carrey" userId="f9afc4aa67827740" providerId="LiveId" clId="{89FC2E44-86AF-4521-902E-CA8F8113BB76}" dt="2026-07-02T10:35:56.364" v="14" actId="2696"/>
        <pc:sldMkLst>
          <pc:docMk/>
          <pc:sldMk cId="1035844218" sldId="2147471976"/>
        </pc:sldMkLst>
      </pc:sldChg>
      <pc:sldChg chg="del">
        <pc:chgData name="Ann-Marie Carrey" userId="f9afc4aa67827740" providerId="LiveId" clId="{89FC2E44-86AF-4521-902E-CA8F8113BB76}" dt="2026-07-02T10:35:38.282" v="8" actId="2696"/>
        <pc:sldMkLst>
          <pc:docMk/>
          <pc:sldMk cId="532350708" sldId="2147471977"/>
        </pc:sldMkLst>
      </pc:sldChg>
      <pc:sldChg chg="del">
        <pc:chgData name="Ann-Marie Carrey" userId="f9afc4aa67827740" providerId="LiveId" clId="{89FC2E44-86AF-4521-902E-CA8F8113BB76}" dt="2026-07-02T10:35:47.928" v="10" actId="2696"/>
        <pc:sldMkLst>
          <pc:docMk/>
          <pc:sldMk cId="3894496696" sldId="2147471979"/>
        </pc:sldMkLst>
      </pc:sldChg>
      <pc:sldChg chg="del">
        <pc:chgData name="Ann-Marie Carrey" userId="f9afc4aa67827740" providerId="LiveId" clId="{89FC2E44-86AF-4521-902E-CA8F8113BB76}" dt="2026-07-02T10:36:14.817" v="23" actId="2696"/>
        <pc:sldMkLst>
          <pc:docMk/>
          <pc:sldMk cId="3641028310" sldId="2147471980"/>
        </pc:sldMkLst>
      </pc:sldChg>
      <pc:sldMasterChg chg="del delSldLayout">
        <pc:chgData name="Ann-Marie Carrey" userId="f9afc4aa67827740" providerId="LiveId" clId="{89FC2E44-86AF-4521-902E-CA8F8113BB76}" dt="2026-07-02T10:32:12.194" v="0" actId="2696"/>
        <pc:sldMasterMkLst>
          <pc:docMk/>
          <pc:sldMasterMk cId="1309362835" sldId="2147483660"/>
        </pc:sldMasterMkLst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255194032" sldId="2147483661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3712746618" sldId="2147483662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330848341" sldId="2147483663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690858678" sldId="2147483664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834901061" sldId="2147483665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862210021" sldId="2147483666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355981256" sldId="2147483667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876836970" sldId="2147483668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4261172940" sldId="2147483669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542828602" sldId="2147483670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92947661" sldId="2147483671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4003740012" sldId="2147483672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3446958211" sldId="2147483673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1276912988" sldId="2147483674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1634750569" sldId="2147483675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615938847" sldId="2147483676"/>
          </pc:sldLayoutMkLst>
        </pc:sldLayoutChg>
      </pc:sldMasterChg>
    </pc:docChg>
  </pc:docChgLst>
  <pc:docChgLst>
    <pc:chgData name="Ingrid Cruickshank" userId="5a5f459abdc2fb5c" providerId="LiveId" clId="{235A252F-ADF7-4EB3-AC49-03FD09E1C522}"/>
    <pc:docChg chg="undo custSel delSld delMainMaster modMainMaster addSection delSection modSection">
      <pc:chgData name="Ingrid Cruickshank" userId="5a5f459abdc2fb5c" providerId="LiveId" clId="{235A252F-ADF7-4EB3-AC49-03FD09E1C522}" dt="2026-06-30T12:00:27.582" v="95" actId="47"/>
      <pc:docMkLst>
        <pc:docMk/>
      </pc:docMkLst>
      <pc:sldMasterChg chg="modSldLayout sldLayoutOrd">
        <pc:chgData name="Ingrid Cruickshank" userId="5a5f459abdc2fb5c" providerId="LiveId" clId="{235A252F-ADF7-4EB3-AC49-03FD09E1C522}" dt="2026-06-30T11:08:19.421" v="4"/>
        <pc:sldMasterMkLst>
          <pc:docMk/>
          <pc:sldMasterMk cId="4016842322" sldId="2147483753"/>
        </pc:sldMasterMkLst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008223097" sldId="2147483781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008223097" sldId="2147483781"/>
              <ac:spMk id="2" creationId="{17AAAFE5-F4A4-452F-410B-00F842559A5C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008223097" sldId="2147483781"/>
              <ac:spMk id="3" creationId="{FB082381-823E-96D7-FEA7-396A114D8237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008223097" sldId="2147483781"/>
              <ac:spMk id="21" creationId="{9DD1B175-E0B7-DC20-88D5-1C79E22E5B2C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970906848" sldId="2147483782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70906848" sldId="2147483782"/>
              <ac:spMk id="2" creationId="{1C049F3D-E633-0ACE-B2BB-A3AD21BEEE15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70906848" sldId="2147483782"/>
              <ac:spMk id="3" creationId="{B1B53522-6F54-224D-A46C-43BDB628E353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2310314513" sldId="2147483783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310314513" sldId="2147483783"/>
              <ac:spMk id="2" creationId="{C8804E49-641E-FF54-5097-05FBBE91DF3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310314513" sldId="2147483783"/>
              <ac:spMk id="3" creationId="{35841687-EF2C-59E5-C217-463879C844FC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4293366294" sldId="2147483784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293366294" sldId="2147483784"/>
              <ac:spMk id="2" creationId="{8A78CF30-E779-C483-A320-F5558596A5A9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293366294" sldId="2147483784"/>
              <ac:spMk id="3" creationId="{53874C0A-7468-CB08-249C-DFA1D538B051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293366294" sldId="2147483784"/>
              <ac:spMk id="4" creationId="{66864A62-5995-5383-6F3A-7E66D0D0F21D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711763282" sldId="2147483785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2" creationId="{3C31442F-BA31-6775-04B7-C5BADCE4D372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3" creationId="{3BAC2287-38A4-A752-F3E8-931CDD0AB307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4" creationId="{35F2B376-AAE0-D1BD-1768-8F98681C30F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5" creationId="{53DBD214-8418-12E3-F3DF-C0E00764BB4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6" creationId="{3E677B34-8A0C-B735-0B20-FA76C9A5E659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673722925" sldId="2147483786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1" creationId="{DB0BA0F1-DFFD-80E2-DC45-EF5EDD180124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2" creationId="{1B683E75-4DB4-17DB-2052-835B3DB5B2A5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3" creationId="{65A73B61-CE51-EE7E-096D-54BFBB867DA2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4" creationId="{A44361D7-79E1-9D7B-F952-8638CE000E4A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5" creationId="{B1E8BB2F-FB4E-AA68-918D-027132703638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2839093043" sldId="2147483787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839093043" sldId="2147483787"/>
              <ac:spMk id="12" creationId="{4CA0414E-B0E5-2546-910C-E13E6DB0F09D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680846861" sldId="2147483788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680846861" sldId="2147483788"/>
              <ac:spMk id="9" creationId="{3C03BC15-4460-27E5-0D1D-49A07A1AF5A3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680846861" sldId="2147483788"/>
              <ac:spMk id="12" creationId="{4CA0414E-B0E5-2546-910C-E13E6DB0F09D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784888879" sldId="2147483789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84888879" sldId="2147483789"/>
              <ac:spMk id="18" creationId="{3B0DFCF6-C03D-C7DE-194E-CD53DEC4D1F2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918988889" sldId="2147483790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18988889" sldId="2147483790"/>
              <ac:spMk id="4" creationId="{0E8EF2A6-E49C-5331-C9FF-E408AA569458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18988889" sldId="2147483790"/>
              <ac:spMk id="9" creationId="{FA4FDE35-96ED-495B-AF20-C2B7AC77B37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18988889" sldId="2147483790"/>
              <ac:spMk id="14" creationId="{91AC1C48-A9DD-3F33-C399-1613FC59F888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590537665" sldId="2147483791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3" creationId="{76425586-2A55-70A8-48EB-057D334BF519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4" creationId="{6008C3FC-B840-603C-AB3B-50C9A93C5C02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9" creationId="{29F6724A-6CA5-B1F1-8B33-03BE4576A7B4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14" creationId="{B2019352-8E4A-1880-E888-383B43AEB198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4178102797" sldId="2147483792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178102797" sldId="2147483792"/>
              <ac:spMk id="16" creationId="{563C873A-1056-9F7E-30E6-F6DA1516449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178102797" sldId="2147483792"/>
              <ac:spMk id="17" creationId="{9545BDC5-FE33-0AFF-0F56-03610258E8C6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866795588" sldId="2147483793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866795588" sldId="2147483793"/>
              <ac:spMk id="16" creationId="{563C873A-1056-9F7E-30E6-F6DA1516449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866795588" sldId="2147483793"/>
              <ac:spMk id="17" creationId="{9545BDC5-FE33-0AFF-0F56-03610258E8C6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866795588" sldId="2147483793"/>
              <ac:spMk id="25" creationId="{11AAF19F-E669-36B5-2F2B-266E1A866AD9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2506003454" sldId="2147483794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506003454" sldId="2147483794"/>
              <ac:spMk id="2" creationId="{ADB3A534-42CF-7493-B77C-CEA3F9C972E0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506003454" sldId="2147483794"/>
              <ac:spMk id="3" creationId="{A2B672E6-64B6-E75E-29FA-03F5058F024D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506003454" sldId="2147483794"/>
              <ac:spMk id="4" creationId="{AF3F07F8-0A24-1D9C-8808-7CA6BFAF483A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F8E4AE-345A-44F9-876B-63B02C2E6453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132931-A9A8-44EB-A315-FE64D2F6A7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828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F7028E-16A3-FE8D-03D0-0E75E3589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64C377-C576-587C-92E9-6DC3A9109F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02918-A95F-1CC3-26C4-86533B2064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scal challenges</a:t>
            </a:r>
          </a:p>
          <a:p>
            <a:r>
              <a:rPr lang="en-US" dirty="0"/>
              <a:t>Role of AI</a:t>
            </a:r>
          </a:p>
          <a:p>
            <a:r>
              <a:rPr lang="en-US" dirty="0"/>
              <a:t>Medicine supply chain problems</a:t>
            </a:r>
          </a:p>
          <a:p>
            <a:r>
              <a:rPr lang="en-US" dirty="0"/>
              <a:t>New ways of delivering medicines (drones, Amazon, hub and spoke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Independent prescribing</a:t>
            </a:r>
          </a:p>
          <a:p>
            <a:r>
              <a:rPr lang="en-US" dirty="0"/>
              <a:t>Left shif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C65FD3-E7B8-164A-8431-B1E35736F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4622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567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1F4E79"/>
                </a:solidFill>
                <a:ea typeface="Calibri"/>
                <a:cs typeface="Calibri"/>
              </a:rPr>
              <a:t>QR Code take you to a survey</a:t>
            </a:r>
            <a:r>
              <a:rPr lang="en-US" dirty="0">
                <a:solidFill>
                  <a:srgbClr val="1F4E79"/>
                </a:solidFill>
                <a:ea typeface="Calibri"/>
                <a:cs typeface="Calibri"/>
              </a:rPr>
              <a:t> </a:t>
            </a:r>
            <a:r>
              <a:rPr lang="en-US" b="1" dirty="0">
                <a:solidFill>
                  <a:srgbClr val="3A3C42"/>
                </a:solidFill>
                <a:highlight>
                  <a:srgbClr val="FFD85A"/>
                </a:highlight>
              </a:rPr>
              <a:t>Sharing your views on prescribing in community pharmacy </a:t>
            </a:r>
            <a:r>
              <a:rPr lang="en-US" dirty="0">
                <a:solidFill>
                  <a:srgbClr val="3A3C42"/>
                </a:solidFill>
                <a:highlight>
                  <a:srgbClr val="FFD85A"/>
                </a:highlight>
              </a:rPr>
              <a:t>Help the NPA understand current experiences, opportunities and barriers around prescribing in community pharmacy. Earn a CPD certificate for your time.</a:t>
            </a:r>
            <a:endParaRPr lang="en-US" dirty="0">
              <a:solidFill>
                <a:srgbClr val="1F4E79"/>
              </a:solidFill>
              <a:ea typeface="Calibri" panose="020F0502020204030204"/>
              <a:cs typeface="Calibri" panose="020F0502020204030204"/>
            </a:endParaRPr>
          </a:p>
          <a:p>
            <a:endParaRPr lang="en-US" dirty="0">
              <a:solidFill>
                <a:srgbClr val="1F4E79"/>
              </a:solidFill>
              <a:ea typeface="Calibri" panose="020F0502020204030204"/>
              <a:cs typeface="Calibri" panose="020F0502020204030204"/>
            </a:endParaRPr>
          </a:p>
          <a:p>
            <a:r>
              <a:rPr lang="en-US">
                <a:solidFill>
                  <a:srgbClr val="1F4E79"/>
                </a:solidFill>
              </a:rPr>
              <a:t>Member support - comprehensive IP pack with resources and templates to support safe prescribing practice .</a:t>
            </a:r>
            <a:endParaRPr lang="en-US">
              <a:ea typeface="Calibri"/>
              <a:cs typeface="Calibri"/>
            </a:endParaRPr>
          </a:p>
          <a:p>
            <a:r>
              <a:rPr lang="en-US" b="1">
                <a:solidFill>
                  <a:srgbClr val="0070C0"/>
                </a:solidFill>
                <a:ea typeface="Calibri"/>
                <a:cs typeface="Calibri"/>
              </a:rPr>
              <a:t>Jasmine kindly shared the following:</a:t>
            </a:r>
            <a:endParaRPr lang="en-US" b="1">
              <a:solidFill>
                <a:srgbClr val="0070C0"/>
              </a:solidFill>
            </a:endParaRPr>
          </a:p>
          <a:p>
            <a:r>
              <a:rPr lang="en-US" b="1">
                <a:solidFill>
                  <a:srgbClr val="0070C0"/>
                </a:solidFill>
              </a:rPr>
              <a:t>Independent Prescribing Service Resources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SOP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Risk Assessment templat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bing policy templat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Record Keeping guidance and template  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Audit Guidance and Templat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Medical History Consultation Checklist templat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Clinical notes and abbreviations guid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bing Incident Protocol  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bing Service Checklist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harmacy First Plus SOP Scotland  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bing Service GP Engagement Template Letter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bing Service GP Summary Template Letter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bing Service Business Continuity Plan Templat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70C0"/>
                </a:solidFill>
              </a:rPr>
              <a:t>Prescription template</a:t>
            </a:r>
            <a:endParaRPr lang="en-US"/>
          </a:p>
          <a:p>
            <a:r>
              <a:rPr lang="en-US" b="1">
                <a:solidFill>
                  <a:srgbClr val="002060"/>
                </a:solidFill>
              </a:rPr>
              <a:t>Prescribing Competency Resources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2060"/>
                </a:solidFill>
              </a:rPr>
              <a:t>Prescribing Competency Assessment and Declaration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2060"/>
                </a:solidFill>
              </a:rPr>
              <a:t>Independent Prescribing Expanding Scope of Practice Guid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2060"/>
                </a:solidFill>
              </a:rPr>
              <a:t>Independent Prescribing and Prescribing Service FAQs</a:t>
            </a:r>
            <a:endParaRPr lang="en-US"/>
          </a:p>
          <a:p>
            <a:r>
              <a:rPr lang="en-US" b="1">
                <a:solidFill>
                  <a:srgbClr val="00B050"/>
                </a:solidFill>
              </a:rPr>
              <a:t>NPA Guidanc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Knowledge Article: Independent Prescribing Principles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Knowledge article: Prescribing and supplying weight management medicines – including prescribing risks, remote consultations, key considerations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Knowledge article: Patient Group Directions versus Independent Prescribing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Knowledge article: Propranolol prescribing safety update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NEW: NPA Guidance: Antimicrobial prescribing and competency framework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NPA and NPA Insurance position statement – GLP-1 medicines and risk of pancreatitis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NPA and NPA Insurance position statement – prescribing and supply of GLP-1 medicines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SUPERINTENDENT UPDATE: supplying weight loss treatment – balancing clinical safety vs. cost</a:t>
            </a:r>
            <a:endParaRPr lang="en-US"/>
          </a:p>
          <a:p>
            <a:r>
              <a:rPr lang="en-US"/>
              <a:t>•</a:t>
            </a:r>
            <a:r>
              <a:rPr lang="en-US">
                <a:solidFill>
                  <a:srgbClr val="00B050"/>
                </a:solidFill>
              </a:rPr>
              <a:t>SUPERINTENDENT UPDATE: supplying weight loss treatments – your clinical queries answered</a:t>
            </a:r>
            <a:endParaRPr lang="en-US"/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5233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587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3728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040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83F156-3B30-4DDD-97D5-DB4FA27ADB8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73971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40919D-1A71-8F9B-A935-7596767E7D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207D78-8864-6F2F-710E-2AB3ADCF33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91794D-496C-1F7D-C999-6A2129EA7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rvices</a:t>
            </a:r>
          </a:p>
          <a:p>
            <a:endParaRPr lang="en-GB"/>
          </a:p>
          <a:p>
            <a:r>
              <a:rPr lang="en-GB"/>
              <a:t>Viewing our profession as clinicians</a:t>
            </a:r>
          </a:p>
          <a:p>
            <a:endParaRPr lang="en-GB"/>
          </a:p>
          <a:p>
            <a:r>
              <a:rPr lang="en-GB"/>
              <a:t>Skin </a:t>
            </a:r>
            <a:r>
              <a:rPr lang="en-GB" err="1"/>
              <a:t>crypotherapy</a:t>
            </a:r>
            <a:r>
              <a:rPr lang="en-GB"/>
              <a:t> - skin tags, warts</a:t>
            </a:r>
          </a:p>
          <a:p>
            <a:endParaRPr lang="en-GB"/>
          </a:p>
          <a:p>
            <a:r>
              <a:rPr lang="en-GB"/>
              <a:t>Contact GPs and other local service providers or community centres</a:t>
            </a:r>
          </a:p>
          <a:p>
            <a:r>
              <a:rPr lang="en-GB"/>
              <a:t>How are you going to make your patients aware of your services?</a:t>
            </a:r>
          </a:p>
          <a:p>
            <a:r>
              <a:rPr lang="en-GB"/>
              <a:t>Local Advertising</a:t>
            </a:r>
          </a:p>
          <a:p>
            <a:r>
              <a:rPr lang="en-GB"/>
              <a:t>Website</a:t>
            </a:r>
          </a:p>
          <a:p>
            <a:r>
              <a:rPr lang="en-GB"/>
              <a:t>Social Media – use your staff to advertise on their FB/Instagram</a:t>
            </a:r>
          </a:p>
          <a:p>
            <a:r>
              <a:rPr lang="en-GB"/>
              <a:t>Leaflets</a:t>
            </a:r>
          </a:p>
          <a:p>
            <a:r>
              <a:rPr lang="en-GB"/>
              <a:t>Staff word of mouth</a:t>
            </a:r>
          </a:p>
          <a:p>
            <a:r>
              <a:rPr lang="en-GB"/>
              <a:t>Staff social media</a:t>
            </a:r>
          </a:p>
          <a:p>
            <a:r>
              <a:rPr lang="en-GB"/>
              <a:t>GP surgery engagement - can you provide them with anything that lists your services – </a:t>
            </a:r>
            <a:r>
              <a:rPr lang="en-GB" err="1"/>
              <a:t>mousemats</a:t>
            </a:r>
            <a:r>
              <a:rPr lang="en-GB"/>
              <a:t> etc</a:t>
            </a:r>
          </a:p>
          <a:p>
            <a:endParaRPr lang="en-GB"/>
          </a:p>
          <a:p>
            <a:r>
              <a:rPr lang="en-GB"/>
              <a:t>Utilise IT and staff: </a:t>
            </a:r>
          </a:p>
          <a:p>
            <a:r>
              <a:rPr lang="en-GB"/>
              <a:t>PMR</a:t>
            </a:r>
          </a:p>
          <a:p>
            <a:endParaRPr lang="en-GB"/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>
                <a:solidFill>
                  <a:schemeClr val="tx1"/>
                </a:solidFill>
              </a:rPr>
              <a:t>M</a:t>
            </a:r>
            <a:r>
              <a:rPr lang="en-GB" b="1" err="1">
                <a:solidFill>
                  <a:schemeClr val="tx1"/>
                </a:solidFill>
                <a:effectLst/>
              </a:rPr>
              <a:t>ens</a:t>
            </a:r>
            <a:r>
              <a:rPr lang="en-GB" b="1">
                <a:solidFill>
                  <a:schemeClr val="tx1"/>
                </a:solidFill>
                <a:effectLst/>
              </a:rPr>
              <a:t> Health: </a:t>
            </a:r>
            <a:r>
              <a:rPr lang="en-GB">
                <a:solidFill>
                  <a:schemeClr val="tx1"/>
                </a:solidFill>
                <a:effectLst/>
              </a:rPr>
              <a:t>Hair Loss, Erectile Dysfunction, alcohol reduction, Back pain, Conjunctivitis, Haemorrhoids, Urinary Incontinence, Premature Ejaculation, Nausea and Sicknes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>
                <a:solidFill>
                  <a:schemeClr val="tx1"/>
                </a:solidFill>
                <a:effectLst/>
              </a:rPr>
              <a:t>Women’s Health: </a:t>
            </a:r>
            <a:r>
              <a:rPr lang="en-GB">
                <a:solidFill>
                  <a:schemeClr val="tx1"/>
                </a:solidFill>
                <a:effectLst/>
              </a:rPr>
              <a:t>Period Delay, Alcohol reduction, facial hair removal, HPV Period Pain, Thrush, UTI treatmen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endParaRPr lang="en-GB"/>
          </a:p>
          <a:p>
            <a:endParaRPr lang="en-GB"/>
          </a:p>
          <a:p>
            <a:r>
              <a:rPr lang="en-GB">
                <a:effectLst/>
                <a:latin typeface="Helvetica Neue" panose="02000503000000020004" pitchFamily="2" charset="0"/>
              </a:rPr>
              <a:t>Microneed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Skin pee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Iv drips </a:t>
            </a:r>
          </a:p>
          <a:p>
            <a:endParaRPr lang="en-GB"/>
          </a:p>
          <a:p>
            <a:endParaRPr lang="en-US"/>
          </a:p>
          <a:p>
            <a:r>
              <a:rPr lang="en-US"/>
              <a:t>Period Delay – £20-£27 depending on days needed</a:t>
            </a:r>
          </a:p>
          <a:p>
            <a:r>
              <a:rPr lang="en-US"/>
              <a:t>Cost is approx. £5-£6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Allergy Clinic</a:t>
            </a:r>
          </a:p>
          <a:p>
            <a:pPr lvl="1"/>
            <a:r>
              <a:rPr lang="en-US" sz="1600"/>
              <a:t>In particular during </a:t>
            </a:r>
            <a:r>
              <a:rPr lang="en-US" sz="1600" err="1"/>
              <a:t>hayfever</a:t>
            </a:r>
            <a:r>
              <a:rPr lang="en-US" sz="1600"/>
              <a:t> season</a:t>
            </a:r>
          </a:p>
          <a:p>
            <a:pPr lvl="1"/>
            <a:r>
              <a:rPr lang="en-US" sz="1600"/>
              <a:t>Review of allergy profile</a:t>
            </a:r>
          </a:p>
          <a:p>
            <a:pPr lvl="1"/>
            <a:r>
              <a:rPr lang="en-US" sz="1600"/>
              <a:t>Pharmacist led and need an IP can prescribe if required (or use PGDs)</a:t>
            </a:r>
          </a:p>
          <a:p>
            <a:pPr lvl="1"/>
            <a:endParaRPr lang="en-US" sz="1600"/>
          </a:p>
          <a:p>
            <a:r>
              <a:rPr lang="en-US"/>
              <a:t>Phlebotomy</a:t>
            </a:r>
          </a:p>
          <a:p>
            <a:pPr lvl="1"/>
            <a:r>
              <a:rPr lang="en-US" sz="1600"/>
              <a:t>Partnered with Nationwide lab (training required)</a:t>
            </a:r>
          </a:p>
          <a:p>
            <a:pPr lvl="1"/>
            <a:r>
              <a:rPr lang="en-US" sz="1600"/>
              <a:t>Charged at the end of the month the agreed fee per service by the lab</a:t>
            </a:r>
          </a:p>
          <a:p>
            <a:pPr lvl="2"/>
            <a:r>
              <a:rPr lang="en-US" sz="1600"/>
              <a:t>Pharmacy charges £40 for a blood draw</a:t>
            </a:r>
          </a:p>
          <a:p>
            <a:pPr lvl="2"/>
            <a:r>
              <a:rPr lang="en-US" sz="1600"/>
              <a:t>Pharmacy charges £60 for Hepatitis B tests</a:t>
            </a:r>
          </a:p>
          <a:p>
            <a:pPr lvl="1"/>
            <a:r>
              <a:rPr lang="en-US" sz="1600"/>
              <a:t>Once trained, it takes 10 minutes with the patient</a:t>
            </a:r>
          </a:p>
          <a:p>
            <a:pPr lvl="1"/>
            <a:endParaRPr lang="en-US" sz="1600"/>
          </a:p>
          <a:p>
            <a:pPr lvl="1"/>
            <a:endParaRPr lang="en-US" sz="1600"/>
          </a:p>
          <a:p>
            <a:r>
              <a:rPr lang="en-US"/>
              <a:t>Menopause Clinic</a:t>
            </a:r>
          </a:p>
          <a:p>
            <a:pPr lvl="1"/>
            <a:r>
              <a:rPr lang="en-US" sz="1600"/>
              <a:t>Set up to offer women a private consultation to discuss their health needs</a:t>
            </a:r>
          </a:p>
          <a:p>
            <a:pPr lvl="1"/>
            <a:r>
              <a:rPr lang="en-US" sz="1600"/>
              <a:t>1 hour appointment to allow enough time for a full past medical history to be taken</a:t>
            </a:r>
          </a:p>
          <a:p>
            <a:pPr lvl="1"/>
            <a:r>
              <a:rPr lang="en-US" sz="1600"/>
              <a:t>Requires an IP with experience in women’s health</a:t>
            </a:r>
          </a:p>
          <a:p>
            <a:pPr marL="457200" lvl="1" indent="0">
              <a:buNone/>
            </a:pPr>
            <a:endParaRPr lang="en-US" sz="1600"/>
          </a:p>
          <a:p>
            <a:r>
              <a:rPr lang="en-US"/>
              <a:t>Dermatology Clinic</a:t>
            </a:r>
          </a:p>
          <a:p>
            <a:pPr lvl="1"/>
            <a:r>
              <a:rPr lang="en-US" sz="1600"/>
              <a:t>30 minutes appointment to look at any skin condition </a:t>
            </a:r>
          </a:p>
          <a:p>
            <a:pPr lvl="1"/>
            <a:r>
              <a:rPr lang="en-US" sz="1600"/>
              <a:t>Often involves a discussion about emollients (OTC)</a:t>
            </a:r>
          </a:p>
          <a:p>
            <a:pPr lvl="1"/>
            <a:r>
              <a:rPr lang="en-US" sz="1600"/>
              <a:t>Which can be with a member of the pharmacy team, but uses IP for prescription items</a:t>
            </a:r>
          </a:p>
          <a:p>
            <a:pPr lvl="1"/>
            <a:endParaRPr lang="en-US"/>
          </a:p>
          <a:p>
            <a:endParaRPr lang="en-US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3A49D-A0F9-6F2D-7552-9FFFADB229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084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5" Type="http://schemas.openxmlformats.org/officeDocument/2006/relationships/image" Target="../media/image22.svg"/><Relationship Id="rId4" Type="http://schemas.openxmlformats.org/officeDocument/2006/relationships/image" Target="../media/image23.emf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5" Type="http://schemas.openxmlformats.org/officeDocument/2006/relationships/image" Target="../media/image15.svg"/><Relationship Id="rId4" Type="http://schemas.openxmlformats.org/officeDocument/2006/relationships/image" Target="../media/image14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sv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sv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5" Type="http://schemas.openxmlformats.org/officeDocument/2006/relationships/image" Target="../media/image12.svg"/><Relationship Id="rId4" Type="http://schemas.openxmlformats.org/officeDocument/2006/relationships/image" Target="../media/image14.emf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9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E50D1-8A70-A508-923A-07A798465F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022" y="1122363"/>
            <a:ext cx="9293772" cy="2387600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9C76D8-AA64-FC32-AECA-98ED9F7DDB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2022" y="3602038"/>
            <a:ext cx="9293772" cy="512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6FFB498-7DEA-26B3-6ED6-370B4848661D}"/>
              </a:ext>
            </a:extLst>
          </p:cNvPr>
          <p:cNvCxnSpPr>
            <a:cxnSpLocks/>
          </p:cNvCxnSpPr>
          <p:nvPr userDrawn="1"/>
        </p:nvCxnSpPr>
        <p:spPr>
          <a:xfrm>
            <a:off x="402022" y="4652141"/>
            <a:ext cx="456438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31D43EC-597A-640E-B9B2-656650D491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5141" y="835268"/>
            <a:ext cx="2730500" cy="574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40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V1">
    <p:bg>
      <p:bgPr>
        <a:solidFill>
          <a:srgbClr val="009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C4D0E5-9A1A-6FA5-CF5E-64CBF33DD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D9840E-5CB4-7424-CF0A-F05802E32B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F2FF93B-B3FC-E19D-F853-EEA660D67DBA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4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3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4157B-15ED-445A-9EDD-9B6952316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845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4157B-15ED-445A-9EDD-9B6952316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0B57C2B3-6891-4DA8-9E01-921FE43EC8CC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56769BE-FF24-4503-A0A8-1B23CBEBD978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76238AD-B809-4B3D-B0BE-6924176147F2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CBBA0F07-9D09-4B4F-BC5B-6F60FC6BEA6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7A447684-B90C-4C99-8A9D-50768288DCD4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ED1A4D-1BBC-4AA2-B78E-D594D2AD580B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7DFF148-321E-48F0-B58B-2808223CF653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483C700-D1E0-4A80-9751-DD46FD24D0BD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F2C91C4D-44ED-411B-9FDE-EB2699ED9B08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A6933F41-E031-46B0-BC1E-2255DA591C53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1AC78E0-8605-4A2C-A5E0-E2BF13578C98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BEF7EBE-0A65-47DD-9378-DDFFF861C14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6FDD92EF-78C2-41E3-9849-821D6ED93F0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DB4FD17-32B4-48B0-AD6E-E58FC5A964E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530362A-CC14-46AD-8AF4-F37632E8A9F1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25DC9BB9-F4AA-4592-ACE1-133D0A49063B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6590F224-3AE8-461D-A0A2-6AC8C6280C06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9EF452F0-5AA9-441C-BA9D-B30A3FB5E7FB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66A6130-1396-4D64-87C3-58B121F19519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6895299-970E-497E-85D4-C86635487913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B0A111-AC86-4432-9219-943869C6619B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605F8A74-54AE-4A77-BF5D-0E4A482660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E02432C-76AD-4F2B-AECA-B20E080CFED7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FC28919-ED5E-4E8B-98AE-D594B2B91964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816F1871-A80D-4526-85C6-1A2AB93072AA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157243A-7DAC-4244-9A5D-59FA3AF3790B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1B43125-5F2A-4430-912D-13E776DA3794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201B25E1-AB0E-4EB5-A9AF-1983CB34E8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969708" y="1566337"/>
            <a:ext cx="9687852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977266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5081388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8458115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969707" y="2097669"/>
            <a:ext cx="9687851" cy="369332"/>
            <a:chOff x="1797664" y="2616963"/>
            <a:chExt cx="8657274" cy="369332"/>
          </a:xfrm>
          <a:noFill/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6976061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507251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8468205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437849" y="2427296"/>
            <a:ext cx="9163984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02650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5124151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850855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437847" y="2783817"/>
            <a:ext cx="9163983" cy="369332"/>
            <a:chOff x="2265804" y="3694411"/>
            <a:chExt cx="8189134" cy="369332"/>
          </a:xfrm>
          <a:noFill/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026504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5134235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850855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DURATION&gt;</a:t>
              </a:r>
            </a:p>
          </p:txBody>
        </p:sp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id="{3F6B5101-F0DA-4DEA-9130-F26443CAEBFB}"/>
              </a:ext>
            </a:extLst>
          </p:cNvPr>
          <p:cNvSpPr>
            <a:spLocks noGrp="1"/>
          </p:cNvSpPr>
          <p:nvPr userDrawn="1">
            <p:ph type="title" sz="quarter" idx="14" hasCustomPrompt="1"/>
          </p:nvPr>
        </p:nvSpPr>
        <p:spPr>
          <a:xfrm>
            <a:off x="1973995" y="861658"/>
            <a:ext cx="9163983" cy="557611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5346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23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F00995-10B9-4A6A-A2A1-D8A31142B41D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9C9D346-85EB-40B2-8A2B-19DB2A92DB2A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EC268BA-C08A-4C38-97B6-E94209031785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AC0A5C8E-81CB-414E-A1C6-77485EDBFC17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A73BE3A-3964-409D-9E42-4EB69AD5953D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9A92D2EB-3DBC-490E-9DE6-A92EF29FE7E2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153A842-B929-48CB-AC66-68DD2D7ED4D2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3A6D6D3-9DC7-41F4-AC58-52BDA1658FE3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AC7A9326-EAFC-4BAF-BD47-91FF55716EE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66675D94-1BEA-4F59-867F-291905A75405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C137B59-F0EB-480E-952E-51A98CA99A32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DAD1D9C-8748-4EC9-AD40-477548367950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F2B152B-EE67-4339-A086-F1E97AAEF67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80C8650-55C9-4ED2-B40D-671610C2D69F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F016A28-1188-4CF9-A204-346551675888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1F0BBD90-3BB0-4D0C-B89D-7E109C4092D2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3D9233E7-53E5-4B79-82EA-2FE7639DA27D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68CFD81-83EF-41DD-B6FB-6828FFB099DC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872365B-E981-4D60-893C-E24687F967AA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4BD07C3-2F57-48F4-B516-D42D36912922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3F796E19-36EC-4E6A-8CAE-97721033032D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E142AC5-EE61-4F8A-9941-60615E682C21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43EB0B0-5EC9-43DD-A335-A8A5722F2E8C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AE73A40-5122-4D00-814E-72F7502483D0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178B33C-2AF6-478C-94A2-893456F15E89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9D8600-BF22-41AD-AF89-75D968F92C72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D59CC96-A48C-4AC4-AE70-D24AB2FB8D16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935AE6DF-F5B6-4C49-9F72-CF1C8061190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88" name="Title 1">
            <a:extLst>
              <a:ext uri="{FF2B5EF4-FFF2-40B4-BE49-F238E27FC236}">
                <a16:creationId xmlns:a16="http://schemas.microsoft.com/office/drawing/2014/main" id="{D6B9EAB4-6E88-49E6-A646-370B36253FD6}"/>
              </a:ext>
            </a:extLst>
          </p:cNvPr>
          <p:cNvSpPr>
            <a:spLocks noGrp="1"/>
          </p:cNvSpPr>
          <p:nvPr>
            <p:ph type="title" sz="quarter" idx="14" hasCustomPrompt="1"/>
          </p:nvPr>
        </p:nvSpPr>
        <p:spPr>
          <a:xfrm>
            <a:off x="1973995" y="861658"/>
            <a:ext cx="9163983" cy="557611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31" name="SP Agenda Section" hidden="1">
            <a:extLst>
              <a:ext uri="{FF2B5EF4-FFF2-40B4-BE49-F238E27FC236}">
                <a16:creationId xmlns:a16="http://schemas.microsoft.com/office/drawing/2014/main" id="{21AB9CC0-C368-4852-9236-7A04591F0217}"/>
              </a:ext>
            </a:extLst>
          </p:cNvPr>
          <p:cNvGrpSpPr/>
          <p:nvPr userDrawn="1"/>
        </p:nvGrpSpPr>
        <p:grpSpPr>
          <a:xfrm>
            <a:off x="1969708" y="1566337"/>
            <a:ext cx="9687852" cy="369332"/>
            <a:chOff x="1797664" y="2085631"/>
            <a:chExt cx="8657274" cy="369332"/>
          </a:xfrm>
        </p:grpSpPr>
        <p:sp>
          <p:nvSpPr>
            <p:cNvPr id="132" name="Textbox" hidden="1">
              <a:extLst>
                <a:ext uri="{FF2B5EF4-FFF2-40B4-BE49-F238E27FC236}">
                  <a16:creationId xmlns:a16="http://schemas.microsoft.com/office/drawing/2014/main" id="{3AB182DB-D8C0-4F05-B8C9-681A6EC8A82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/>
                <a:t>&lt;TEXT&gt;</a:t>
              </a:r>
            </a:p>
          </p:txBody>
        </p:sp>
        <p:sp>
          <p:nvSpPr>
            <p:cNvPr id="133" name="Textbox" hidden="1">
              <a:extLst>
                <a:ext uri="{FF2B5EF4-FFF2-40B4-BE49-F238E27FC236}">
                  <a16:creationId xmlns:a16="http://schemas.microsoft.com/office/drawing/2014/main" id="{1F506675-9953-420C-89AA-C48CBADE5AD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/>
                <a:t>&lt;N&gt;</a:t>
              </a:r>
            </a:p>
          </p:txBody>
        </p:sp>
        <p:sp>
          <p:nvSpPr>
            <p:cNvPr id="134" name="Textbox" hidden="1">
              <a:extLst>
                <a:ext uri="{FF2B5EF4-FFF2-40B4-BE49-F238E27FC236}">
                  <a16:creationId xmlns:a16="http://schemas.microsoft.com/office/drawing/2014/main" id="{D7797BBE-CC80-4DBD-8171-2402556AAA7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/>
                <a:t>&lt;P&gt;</a:t>
              </a:r>
            </a:p>
          </p:txBody>
        </p:sp>
        <p:sp>
          <p:nvSpPr>
            <p:cNvPr id="135" name="Textbox" hidden="1">
              <a:extLst>
                <a:ext uri="{FF2B5EF4-FFF2-40B4-BE49-F238E27FC236}">
                  <a16:creationId xmlns:a16="http://schemas.microsoft.com/office/drawing/2014/main" id="{C0C0C783-AD38-40F8-99C4-2E90BDEEFE3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77266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TIMESLOT&gt;</a:t>
              </a:r>
            </a:p>
          </p:txBody>
        </p:sp>
        <p:sp>
          <p:nvSpPr>
            <p:cNvPr id="136" name="Textbox" hidden="1">
              <a:extLst>
                <a:ext uri="{FF2B5EF4-FFF2-40B4-BE49-F238E27FC236}">
                  <a16:creationId xmlns:a16="http://schemas.microsoft.com/office/drawing/2014/main" id="{272C9E9E-6641-4422-93BE-737BE02E753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081388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RESPONSIBLE&gt;</a:t>
              </a:r>
            </a:p>
          </p:txBody>
        </p:sp>
        <p:sp>
          <p:nvSpPr>
            <p:cNvPr id="137" name="Textbox" hidden="1">
              <a:extLst>
                <a:ext uri="{FF2B5EF4-FFF2-40B4-BE49-F238E27FC236}">
                  <a16:creationId xmlns:a16="http://schemas.microsoft.com/office/drawing/2014/main" id="{89D1EE13-FE88-4A51-9BBF-320DFE84878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458115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DURATION&gt;</a:t>
              </a:r>
            </a:p>
          </p:txBody>
        </p:sp>
      </p:grpSp>
      <p:grpSp>
        <p:nvGrpSpPr>
          <p:cNvPr id="138" name="SP Agenda Section Highlight" hidden="1">
            <a:extLst>
              <a:ext uri="{FF2B5EF4-FFF2-40B4-BE49-F238E27FC236}">
                <a16:creationId xmlns:a16="http://schemas.microsoft.com/office/drawing/2014/main" id="{4F5D7C69-1EDC-456E-86E7-4B93FE001C11}"/>
              </a:ext>
            </a:extLst>
          </p:cNvPr>
          <p:cNvGrpSpPr>
            <a:grpSpLocks/>
          </p:cNvGrpSpPr>
          <p:nvPr userDrawn="1"/>
        </p:nvGrpSpPr>
        <p:grpSpPr>
          <a:xfrm>
            <a:off x="1969707" y="2097669"/>
            <a:ext cx="9687851" cy="369332"/>
            <a:chOff x="1797664" y="2616963"/>
            <a:chExt cx="8657274" cy="369332"/>
          </a:xfrm>
          <a:noFill/>
        </p:grpSpPr>
        <p:sp>
          <p:nvSpPr>
            <p:cNvPr id="139" name="Textbox" hidden="1">
              <a:extLst>
                <a:ext uri="{FF2B5EF4-FFF2-40B4-BE49-F238E27FC236}">
                  <a16:creationId xmlns:a16="http://schemas.microsoft.com/office/drawing/2014/main" id="{4F0651FC-CCAE-4CA5-A306-3D32FEDE000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 b="1"/>
                <a:t>&lt;TEXT&gt;</a:t>
              </a:r>
            </a:p>
          </p:txBody>
        </p:sp>
        <p:sp>
          <p:nvSpPr>
            <p:cNvPr id="140" name="Textbox" hidden="1">
              <a:extLst>
                <a:ext uri="{FF2B5EF4-FFF2-40B4-BE49-F238E27FC236}">
                  <a16:creationId xmlns:a16="http://schemas.microsoft.com/office/drawing/2014/main" id="{2BECDC34-551C-4469-8214-32EF54DCFAD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/>
                <a:t>&lt;N&gt;</a:t>
              </a:r>
            </a:p>
          </p:txBody>
        </p:sp>
        <p:sp>
          <p:nvSpPr>
            <p:cNvPr id="141" name="Textbox" hidden="1">
              <a:extLst>
                <a:ext uri="{FF2B5EF4-FFF2-40B4-BE49-F238E27FC236}">
                  <a16:creationId xmlns:a16="http://schemas.microsoft.com/office/drawing/2014/main" id="{5410C8DF-1809-4F92-9F49-4AC74B1A54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/>
                <a:t>&lt;P&gt;</a:t>
              </a:r>
            </a:p>
          </p:txBody>
        </p:sp>
        <p:sp>
          <p:nvSpPr>
            <p:cNvPr id="142" name="Textbox" hidden="1">
              <a:extLst>
                <a:ext uri="{FF2B5EF4-FFF2-40B4-BE49-F238E27FC236}">
                  <a16:creationId xmlns:a16="http://schemas.microsoft.com/office/drawing/2014/main" id="{6431383D-2892-4E73-8488-8D1B40D006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76061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TIMESLOT&gt;</a:t>
              </a:r>
            </a:p>
          </p:txBody>
        </p:sp>
        <p:sp>
          <p:nvSpPr>
            <p:cNvPr id="143" name="Textbox" hidden="1">
              <a:extLst>
                <a:ext uri="{FF2B5EF4-FFF2-40B4-BE49-F238E27FC236}">
                  <a16:creationId xmlns:a16="http://schemas.microsoft.com/office/drawing/2014/main" id="{B69DE84F-D505-4E24-9398-1FC53DCE647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07251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RESPONSIBLE&gt;</a:t>
              </a:r>
            </a:p>
          </p:txBody>
        </p:sp>
        <p:sp>
          <p:nvSpPr>
            <p:cNvPr id="144" name="Textbox" hidden="1">
              <a:extLst>
                <a:ext uri="{FF2B5EF4-FFF2-40B4-BE49-F238E27FC236}">
                  <a16:creationId xmlns:a16="http://schemas.microsoft.com/office/drawing/2014/main" id="{D44178F6-90C8-4BE0-89E1-80FF5554FC4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468205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DURATION&gt;</a:t>
              </a:r>
            </a:p>
          </p:txBody>
        </p:sp>
      </p:grpSp>
      <p:grpSp>
        <p:nvGrpSpPr>
          <p:cNvPr id="145" name="SP Agenda Subsection" hidden="1">
            <a:extLst>
              <a:ext uri="{FF2B5EF4-FFF2-40B4-BE49-F238E27FC236}">
                <a16:creationId xmlns:a16="http://schemas.microsoft.com/office/drawing/2014/main" id="{8C75163C-59E1-444D-9DEA-A211F316EF35}"/>
              </a:ext>
            </a:extLst>
          </p:cNvPr>
          <p:cNvGrpSpPr>
            <a:grpSpLocks/>
          </p:cNvGrpSpPr>
          <p:nvPr userDrawn="1"/>
        </p:nvGrpSpPr>
        <p:grpSpPr>
          <a:xfrm>
            <a:off x="2437849" y="2427296"/>
            <a:ext cx="9163984" cy="369332"/>
            <a:chOff x="2265804" y="3155687"/>
            <a:chExt cx="8189134" cy="369332"/>
          </a:xfrm>
        </p:grpSpPr>
        <p:sp>
          <p:nvSpPr>
            <p:cNvPr id="146" name="Textbox" hidden="1">
              <a:extLst>
                <a:ext uri="{FF2B5EF4-FFF2-40B4-BE49-F238E27FC236}">
                  <a16:creationId xmlns:a16="http://schemas.microsoft.com/office/drawing/2014/main" id="{5435EDBE-4B46-479E-A3EE-8BE2AEAA56A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/>
                <a:t>&lt;TEXT&gt;</a:t>
              </a:r>
            </a:p>
          </p:txBody>
        </p:sp>
        <p:sp>
          <p:nvSpPr>
            <p:cNvPr id="147" name="Textbox" hidden="1">
              <a:extLst>
                <a:ext uri="{FF2B5EF4-FFF2-40B4-BE49-F238E27FC236}">
                  <a16:creationId xmlns:a16="http://schemas.microsoft.com/office/drawing/2014/main" id="{250997A5-3479-4B8B-95FE-94C2315C044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/>
                <a:t>&lt;N&gt;</a:t>
              </a:r>
            </a:p>
          </p:txBody>
        </p:sp>
        <p:sp>
          <p:nvSpPr>
            <p:cNvPr id="148" name="Textbox" hidden="1">
              <a:extLst>
                <a:ext uri="{FF2B5EF4-FFF2-40B4-BE49-F238E27FC236}">
                  <a16:creationId xmlns:a16="http://schemas.microsoft.com/office/drawing/2014/main" id="{107FC083-CF43-4321-BD28-41171A6B15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/>
                <a:t>&lt;P&gt;</a:t>
              </a:r>
            </a:p>
          </p:txBody>
        </p:sp>
        <p:sp>
          <p:nvSpPr>
            <p:cNvPr id="149" name="Textbox" hidden="1">
              <a:extLst>
                <a:ext uri="{FF2B5EF4-FFF2-40B4-BE49-F238E27FC236}">
                  <a16:creationId xmlns:a16="http://schemas.microsoft.com/office/drawing/2014/main" id="{231F4168-70DA-47DC-B87F-8463217646E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2650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TIMESLOT&gt;</a:t>
              </a:r>
            </a:p>
          </p:txBody>
        </p:sp>
        <p:sp>
          <p:nvSpPr>
            <p:cNvPr id="150" name="Textbox" hidden="1">
              <a:extLst>
                <a:ext uri="{FF2B5EF4-FFF2-40B4-BE49-F238E27FC236}">
                  <a16:creationId xmlns:a16="http://schemas.microsoft.com/office/drawing/2014/main" id="{17FB603F-741C-48A6-8DEA-F7491E96E9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124151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RESPONSIBLE&gt;</a:t>
              </a:r>
            </a:p>
          </p:txBody>
        </p:sp>
        <p:sp>
          <p:nvSpPr>
            <p:cNvPr id="151" name="Textbox" hidden="1">
              <a:extLst>
                <a:ext uri="{FF2B5EF4-FFF2-40B4-BE49-F238E27FC236}">
                  <a16:creationId xmlns:a16="http://schemas.microsoft.com/office/drawing/2014/main" id="{F731F62F-12E6-4CED-B13E-9E9F2551B2B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50855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DURATION&gt;</a:t>
              </a:r>
            </a:p>
          </p:txBody>
        </p:sp>
      </p:grpSp>
      <p:grpSp>
        <p:nvGrpSpPr>
          <p:cNvPr id="152" name="SP Agenda Subsection Highlight" hidden="1">
            <a:extLst>
              <a:ext uri="{FF2B5EF4-FFF2-40B4-BE49-F238E27FC236}">
                <a16:creationId xmlns:a16="http://schemas.microsoft.com/office/drawing/2014/main" id="{D7F81F7A-5B11-43C7-967D-8D403A43E417}"/>
              </a:ext>
            </a:extLst>
          </p:cNvPr>
          <p:cNvGrpSpPr>
            <a:grpSpLocks/>
          </p:cNvGrpSpPr>
          <p:nvPr userDrawn="1"/>
        </p:nvGrpSpPr>
        <p:grpSpPr>
          <a:xfrm>
            <a:off x="2437847" y="2783817"/>
            <a:ext cx="9163983" cy="369332"/>
            <a:chOff x="2265804" y="3694411"/>
            <a:chExt cx="8189134" cy="369332"/>
          </a:xfrm>
          <a:noFill/>
        </p:grpSpPr>
        <p:sp>
          <p:nvSpPr>
            <p:cNvPr id="153" name="Textbox" hidden="1">
              <a:extLst>
                <a:ext uri="{FF2B5EF4-FFF2-40B4-BE49-F238E27FC236}">
                  <a16:creationId xmlns:a16="http://schemas.microsoft.com/office/drawing/2014/main" id="{BF297698-0EFA-4C5B-B190-460E5A56A5D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 b="1"/>
                <a:t>&lt;TEXT&gt;</a:t>
              </a:r>
            </a:p>
          </p:txBody>
        </p:sp>
        <p:sp>
          <p:nvSpPr>
            <p:cNvPr id="154" name="Textbox" hidden="1">
              <a:extLst>
                <a:ext uri="{FF2B5EF4-FFF2-40B4-BE49-F238E27FC236}">
                  <a16:creationId xmlns:a16="http://schemas.microsoft.com/office/drawing/2014/main" id="{7E145D72-54FC-4BAA-8426-B9D43E99C8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/>
                <a:t>&lt;N&gt;</a:t>
              </a:r>
            </a:p>
          </p:txBody>
        </p:sp>
        <p:sp>
          <p:nvSpPr>
            <p:cNvPr id="155" name="Textbox" hidden="1">
              <a:extLst>
                <a:ext uri="{FF2B5EF4-FFF2-40B4-BE49-F238E27FC236}">
                  <a16:creationId xmlns:a16="http://schemas.microsoft.com/office/drawing/2014/main" id="{905200E7-7D6E-4141-93B5-341DFE3E1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/>
                <a:t>&lt;P&gt;</a:t>
              </a:r>
            </a:p>
          </p:txBody>
        </p:sp>
        <p:sp>
          <p:nvSpPr>
            <p:cNvPr id="156" name="Textbox" hidden="1">
              <a:extLst>
                <a:ext uri="{FF2B5EF4-FFF2-40B4-BE49-F238E27FC236}">
                  <a16:creationId xmlns:a16="http://schemas.microsoft.com/office/drawing/2014/main" id="{88E53779-D335-4E6B-B08E-61D09E0B41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26504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TIMESLOT&gt;</a:t>
              </a:r>
            </a:p>
          </p:txBody>
        </p:sp>
        <p:sp>
          <p:nvSpPr>
            <p:cNvPr id="157" name="Textbox" hidden="1">
              <a:extLst>
                <a:ext uri="{FF2B5EF4-FFF2-40B4-BE49-F238E27FC236}">
                  <a16:creationId xmlns:a16="http://schemas.microsoft.com/office/drawing/2014/main" id="{5658D305-2858-403B-AE34-055F6D3B3D0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134235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RESPONSIBLE&gt;</a:t>
              </a:r>
            </a:p>
          </p:txBody>
        </p:sp>
        <p:sp>
          <p:nvSpPr>
            <p:cNvPr id="158" name="Textbox" hidden="1">
              <a:extLst>
                <a:ext uri="{FF2B5EF4-FFF2-40B4-BE49-F238E27FC236}">
                  <a16:creationId xmlns:a16="http://schemas.microsoft.com/office/drawing/2014/main" id="{BB8F9753-FA9F-470A-922A-19B7C7E8ED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50855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349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C4D0E5-9A1A-6FA5-CF5E-64CBF33DD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D9840E-5CB4-7424-CF0A-F05802E32B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8EDAF5-E0CA-3AB1-7EFA-EFB434CCF892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334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stimon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E721CF9-F280-78C9-C0D4-B046589C88DB}"/>
              </a:ext>
            </a:extLst>
          </p:cNvPr>
          <p:cNvSpPr/>
          <p:nvPr userDrawn="1"/>
        </p:nvSpPr>
        <p:spPr>
          <a:xfrm>
            <a:off x="6073140" y="-1"/>
            <a:ext cx="45719" cy="6858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096FF4-5F7E-D83B-25FD-15446F4D303C}"/>
              </a:ext>
            </a:extLst>
          </p:cNvPr>
          <p:cNvSpPr/>
          <p:nvPr userDrawn="1"/>
        </p:nvSpPr>
        <p:spPr>
          <a:xfrm rot="5400000">
            <a:off x="9109709" y="464130"/>
            <a:ext cx="45719" cy="61188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BEC171C-913E-0F7E-7907-8636FFD078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42" y="6054667"/>
            <a:ext cx="1000958" cy="376035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734A410-243A-AE5E-1FFF-8F1EC9F35311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D94BCB3-F0E5-1491-8928-8F257F4177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6836" y="2846053"/>
            <a:ext cx="4225925" cy="445377"/>
          </a:xfr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rgbClr val="31BCAF"/>
                </a:solidFill>
              </a:defRPr>
            </a:lvl1pPr>
          </a:lstStyle>
          <a:p>
            <a:pPr lvl="0"/>
            <a:r>
              <a:rPr lang="en-GB" dirty="0"/>
              <a:t>- Name, Title, Location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98FAE952-FFF7-1D50-17F6-E33E3C1A6D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36836" y="6248489"/>
            <a:ext cx="4225925" cy="445377"/>
          </a:xfr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rgbClr val="00BF46"/>
                </a:solidFill>
              </a:defRPr>
            </a:lvl1pPr>
          </a:lstStyle>
          <a:p>
            <a:pPr lvl="0"/>
            <a:r>
              <a:rPr lang="en-GB" dirty="0"/>
              <a:t>- Name, Title, Location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245B3F4-E8AB-2C9E-70F4-99E4C1C8F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011972"/>
            <a:ext cx="5139581" cy="434436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000">
                <a:solidFill>
                  <a:srgbClr val="0090CE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76A663AF-9DCD-BDA5-2E85-80E3EC2953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4814" y="5514340"/>
            <a:ext cx="4225925" cy="445377"/>
          </a:xfr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rgbClr val="0090CE"/>
                </a:solidFill>
              </a:defRPr>
            </a:lvl1pPr>
          </a:lstStyle>
          <a:p>
            <a:pPr lvl="0"/>
            <a:r>
              <a:rPr lang="en-GB" dirty="0"/>
              <a:t>- Name, Title, Location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6F704208-C4A2-A1AB-8D08-6CABCC537A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4024" y="414206"/>
            <a:ext cx="5138737" cy="228563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31BCAF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187504DC-439B-A332-D1CA-8A02C195E6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4024" y="3840667"/>
            <a:ext cx="5138737" cy="228563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00BF46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832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stimon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0A1F6-DAF8-155E-EFD5-7151D2C53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212983"/>
            <a:ext cx="5139581" cy="42112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000">
                <a:solidFill>
                  <a:srgbClr val="0090CE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E721CF9-F280-78C9-C0D4-B046589C88DB}"/>
              </a:ext>
            </a:extLst>
          </p:cNvPr>
          <p:cNvSpPr/>
          <p:nvPr userDrawn="1"/>
        </p:nvSpPr>
        <p:spPr>
          <a:xfrm>
            <a:off x="6073140" y="-1"/>
            <a:ext cx="45719" cy="6858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BEC171C-913E-0F7E-7907-8636FFD078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42" y="6054667"/>
            <a:ext cx="1000958" cy="376035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8A50E21-D3F3-364C-6D9D-933EA065484E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377A3AB9-3998-5F17-61F3-BC63DEC364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6836" y="5685788"/>
            <a:ext cx="4225925" cy="445377"/>
          </a:xfr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rgbClr val="31BCAF"/>
                </a:solidFill>
              </a:defRPr>
            </a:lvl1pPr>
          </a:lstStyle>
          <a:p>
            <a:pPr lvl="0"/>
            <a:r>
              <a:rPr lang="en-GB" dirty="0"/>
              <a:t>- Name, Title, Location</a:t>
            </a:r>
          </a:p>
        </p:txBody>
      </p:sp>
      <p:sp>
        <p:nvSpPr>
          <p:cNvPr id="8" name="Text Placeholder 24">
            <a:extLst>
              <a:ext uri="{FF2B5EF4-FFF2-40B4-BE49-F238E27FC236}">
                <a16:creationId xmlns:a16="http://schemas.microsoft.com/office/drawing/2014/main" id="{55E0E560-F7FA-E103-7516-F8C6C9B41B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4814" y="5685788"/>
            <a:ext cx="4225925" cy="445377"/>
          </a:xfr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rgbClr val="0090CE"/>
                </a:solidFill>
              </a:defRPr>
            </a:lvl1pPr>
          </a:lstStyle>
          <a:p>
            <a:pPr lvl="0"/>
            <a:r>
              <a:rPr lang="en-GB" dirty="0"/>
              <a:t>- Name, Title, Loc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BD4A0A6-3026-535E-9CD4-03DC647B81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4024" y="1212850"/>
            <a:ext cx="5138737" cy="421163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31BCAF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894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0A1F6-DAF8-155E-EFD5-7151D2C53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212983"/>
            <a:ext cx="11145916" cy="42112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000">
                <a:solidFill>
                  <a:srgbClr val="0090CE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BEC171C-913E-0F7E-7907-8636FFD078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42" y="6054667"/>
            <a:ext cx="1000958" cy="376035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EA84A96-72BA-64D0-90E2-47EF7CBB4A7E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B88B394-0AA1-F7B0-D01F-CE870B61F4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43033" y="5685788"/>
            <a:ext cx="4225925" cy="445377"/>
          </a:xfr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rgbClr val="0090CE"/>
                </a:solidFill>
              </a:defRPr>
            </a:lvl1pPr>
          </a:lstStyle>
          <a:p>
            <a:pPr lvl="0"/>
            <a:r>
              <a:rPr lang="en-GB" dirty="0"/>
              <a:t>- Name, Title, Location</a:t>
            </a:r>
          </a:p>
        </p:txBody>
      </p:sp>
    </p:spTree>
    <p:extLst>
      <p:ext uri="{BB962C8B-B14F-4D97-AF65-F5344CB8AC3E}">
        <p14:creationId xmlns:p14="http://schemas.microsoft.com/office/powerpoint/2010/main" val="3713032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rgbClr val="009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E50D1-8A70-A508-923A-07A798465F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9114" y="1122363"/>
            <a:ext cx="9293772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1D43EC-597A-640E-B9B2-656650D491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65395" y="5794320"/>
            <a:ext cx="2061210" cy="433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680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13C86EF-8A09-BA99-54A4-E8C34E6A08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65017" y="-1494660"/>
            <a:ext cx="3918570" cy="3918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AAAFE5-F4A4-452F-410B-00F842559A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1" y="1594300"/>
            <a:ext cx="630853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082381-823E-96D7-FEA7-396A114D8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574433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92D0ED-FA3B-E1C3-CE0C-2FCEF59F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84181" y="-1362161"/>
            <a:ext cx="745764" cy="2724322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5305680-B6F6-870A-781B-1BBFDBAFFA9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9DD1B175-E0B7-DC20-88D5-1C79E22E5B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1093" y="1887608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71625B96-B4D4-D4E6-2ED1-BA55DDC0B5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4703" y="4639164"/>
            <a:ext cx="4473610" cy="44736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5103C7-4D53-2D26-81E6-CE4C79A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607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687F0529-5A1B-EDE6-822F-C2B8166881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23881" y="-2546904"/>
            <a:ext cx="3659257" cy="3659257"/>
          </a:xfrm>
          <a:prstGeom prst="rect">
            <a:avLst/>
          </a:prstGeom>
        </p:spPr>
      </p:pic>
      <p:pic>
        <p:nvPicPr>
          <p:cNvPr id="5" name="Picture 4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C0CAC1E3-C3D6-4EA0-D1C9-510C71393D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773" y="-717275"/>
            <a:ext cx="3659257" cy="36592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049F3D-E633-0ACE-B2BB-A3AD21BEE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39091"/>
            <a:ext cx="8772728" cy="70173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53522-6F54-224D-A46C-43BDB628E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87675"/>
            <a:ext cx="8772728" cy="21176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F1E6B3-76F2-AE77-19B6-32A3DF776C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5392" y="2250390"/>
            <a:ext cx="1516725" cy="1516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803E3E-27FA-A6B0-4B3F-DC76C1E61D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78891" y="5503596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298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6557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AA76282-768D-7E49-D180-B485DADEC2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682859" y="-2095500"/>
            <a:ext cx="4157180" cy="4157180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6E541C7D-F874-7801-E283-F76C11F7C2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43496" y="-1367891"/>
            <a:ext cx="5410200" cy="5410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804E49-641E-FF54-5097-05FBBE91D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79245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41687-EF2C-59E5-C217-463879C844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376152"/>
            <a:ext cx="10515600" cy="85897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DD92C2-BD8F-6C0F-72E8-43425CFE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74165" y="-1362161"/>
            <a:ext cx="745764" cy="27243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84EC78-637C-7789-F8FE-B3BB5465A6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0180" y="5490061"/>
            <a:ext cx="1655762" cy="1655762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87FD93-89C5-70DE-2BEC-D9360B6CA602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74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B8145B38-E1CB-DEA8-8EF3-195F00F09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2292" y="-1621738"/>
            <a:ext cx="3559869" cy="3559869"/>
          </a:xfrm>
          <a:prstGeom prst="rect">
            <a:avLst/>
          </a:prstGeom>
        </p:spPr>
      </p:pic>
      <p:pic>
        <p:nvPicPr>
          <p:cNvPr id="7" name="Picture 6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FE190A-BE79-9FF0-5AE1-8B8F12A436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6986" y="5771404"/>
            <a:ext cx="4593535" cy="45935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78CF30-E779-C483-A320-F5558596A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62891"/>
            <a:ext cx="8772728" cy="701731"/>
          </a:xfrm>
        </p:spPr>
        <p:txBody>
          <a:bodyPr>
            <a:spAutoFit/>
          </a:bodyPr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874C0A-7468-CB08-249C-DFA1D538B0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64A62-5995-5383-6F3A-7E66D0D0F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07F452-D889-1223-CD75-DCE914898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252" y="-237567"/>
            <a:ext cx="1516725" cy="15167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5BBD88-FCA0-7EA7-87FE-1EF3D88AA6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44104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027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Image, Additio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0A1F6-DAF8-155E-EFD5-7151D2C53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212983"/>
            <a:ext cx="60452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0090CE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558C5-4CD6-1DF3-D645-3404124FE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042" y="2972198"/>
            <a:ext cx="6045200" cy="3500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3A424F"/>
                </a:solidFill>
              </a:defRPr>
            </a:lvl1pPr>
            <a:lvl2pPr>
              <a:defRPr sz="2000">
                <a:solidFill>
                  <a:srgbClr val="3A424F"/>
                </a:solidFill>
              </a:defRPr>
            </a:lvl2pPr>
            <a:lvl3pPr>
              <a:defRPr sz="1800">
                <a:solidFill>
                  <a:srgbClr val="3A424F"/>
                </a:solidFill>
              </a:defRPr>
            </a:lvl3pPr>
            <a:lvl4pPr>
              <a:defRPr sz="1600">
                <a:solidFill>
                  <a:srgbClr val="3A424F"/>
                </a:solidFill>
              </a:defRPr>
            </a:lvl4pPr>
            <a:lvl5pPr>
              <a:defRPr sz="1600"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5BAE8F-CB20-BAA9-018F-44DA36F646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94538" y="-1"/>
            <a:ext cx="5097462" cy="350070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E721CF9-F280-78C9-C0D4-B046589C88DB}"/>
              </a:ext>
            </a:extLst>
          </p:cNvPr>
          <p:cNvSpPr/>
          <p:nvPr userDrawn="1"/>
        </p:nvSpPr>
        <p:spPr>
          <a:xfrm>
            <a:off x="7048819" y="-1"/>
            <a:ext cx="45719" cy="6858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096FF4-5F7E-D83B-25FD-15446F4D303C}"/>
              </a:ext>
            </a:extLst>
          </p:cNvPr>
          <p:cNvSpPr/>
          <p:nvPr userDrawn="1"/>
        </p:nvSpPr>
        <p:spPr>
          <a:xfrm rot="5400000">
            <a:off x="9597549" y="951969"/>
            <a:ext cx="45719" cy="51431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CDFEE-5924-44D6-F6B9-9D15C20704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0602999-84E2-C1A8-B543-4C13D0BC839E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200947D-4A0F-FA3A-E6B9-939650EF17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96150" y="3783013"/>
            <a:ext cx="4716463" cy="2925762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3A424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17492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3928B1-887D-2916-226E-E22E8A2DD0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535445" y="4352926"/>
            <a:ext cx="4452937" cy="4452937"/>
          </a:xfrm>
          <a:prstGeom prst="rect">
            <a:avLst/>
          </a:prstGeom>
        </p:spPr>
      </p:pic>
      <p:pic>
        <p:nvPicPr>
          <p:cNvPr id="8" name="Picture 7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0A50425-406A-EC3C-7365-7B54BBFE76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5978" y="-1916418"/>
            <a:ext cx="4868069" cy="4868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31442F-BA31-6775-04B7-C5BADCE4D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318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C2287-38A4-A752-F3E8-931CDD0AB3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347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F2B376-AAE0-D1BD-1768-8F98681C30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39307"/>
            <a:ext cx="5157787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BD214-8418-12E3-F3DF-C0E00764BB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347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677B34-8A0C-B735-0B20-FA76C9A5E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39307"/>
            <a:ext cx="5183188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3FD4C2-A9E9-CDD4-EAA2-4ADB4A62C0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2" y="2741926"/>
            <a:ext cx="1516725" cy="15167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20756B-0C15-7E89-6800-7CA90A3A2F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632448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8175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22BC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FF93C2E-32B2-FE2C-F18F-9788F217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89173" y="-2550982"/>
            <a:ext cx="4869143" cy="4869143"/>
          </a:xfrm>
          <a:prstGeom prst="rect">
            <a:avLst/>
          </a:prstGeom>
        </p:spPr>
      </p:pic>
      <p:pic>
        <p:nvPicPr>
          <p:cNvPr id="4" name="Picture 3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BB8D8F1B-E58E-642E-D1EB-4657A7C5E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16668" y="3577656"/>
            <a:ext cx="4869143" cy="48691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C3884C-8EF9-7DD2-10D2-A924A8EEE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3638" y="-1362161"/>
            <a:ext cx="745764" cy="2724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4020A47-C743-17AB-FB88-D763942999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373" y="1760935"/>
            <a:ext cx="1655762" cy="165576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B0BA0F1-DFFD-80E2-DC45-EF5EDD180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22102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683E75-4DB4-17DB-2052-835B3DB5B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838140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5A73B61-CE51-EE7E-096D-54BFBB867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829535"/>
            <a:ext cx="5157787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4361D7-79E1-9D7B-F952-8638CE000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2200" y="2838140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B1E8BB2F-FB4E-AA68-918D-0271327036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829535"/>
            <a:ext cx="5183188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6F91CB0-A38D-5F2B-D79E-0DC70B2DF0A4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2224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80438" y="-1362161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FC51DEB1-ED5F-CD5D-E08B-32B717FD35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76996" y="-3579270"/>
            <a:ext cx="4869143" cy="4869143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3FE79465-4B7A-2FC1-F413-A5E806104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0418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4155826-9C83-7D46-4DD6-9E5BA692E6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9145" y="-2069447"/>
            <a:ext cx="4869143" cy="4869143"/>
          </a:xfrm>
          <a:prstGeom prst="rect">
            <a:avLst/>
          </a:prstGeom>
        </p:spPr>
      </p:pic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02971DE-D91F-0473-1BC5-9744B1C44A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038413" y="5503596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819417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0D5155-F22C-E471-08EF-38763A8C7B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7562" y="-692301"/>
            <a:ext cx="1655762" cy="1655762"/>
          </a:xfrm>
          <a:prstGeom prst="rect">
            <a:avLst/>
          </a:prstGeom>
        </p:spPr>
      </p:pic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C03BC15-4460-27E5-0D1D-49A07A1AF5A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838200" y="1891996"/>
            <a:ext cx="7820025" cy="41586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0207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38BA8FC-22BB-5151-9462-33FC08AEA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87504" y="5495839"/>
            <a:ext cx="745764" cy="272432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B0DFCF6-C03D-C7DE-194E-CD53DEC4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180F42-E6D0-10D9-BF85-55E0EF1DBD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2548" y="-3067766"/>
            <a:ext cx="4439614" cy="443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0529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2A1528-7E90-E5E9-1F7F-4DA4E912FC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548" y="-1621738"/>
            <a:ext cx="4439614" cy="4439614"/>
          </a:xfrm>
          <a:prstGeom prst="rect">
            <a:avLst/>
          </a:prstGeom>
        </p:spPr>
      </p:pic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91AC1C48-A9DD-3F33-C399-1613FC59F8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659" y="2164383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1CB63A-EA08-EC74-DD4C-8C22CC543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73" y="5550199"/>
            <a:ext cx="1516725" cy="15167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8EF2A6-E49C-5331-C9FF-E408AA5694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7" y="2838450"/>
            <a:ext cx="5855959" cy="2401201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A4FDE35-96ED-495B-AF20-C2B7AC77B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61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543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D1D94E0-762B-06D3-03CF-7D1E82F3D5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475" y="-2635810"/>
            <a:ext cx="4869143" cy="4869143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865F2E57-9FB8-E737-3801-ADB1FFF1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4909" y="4326173"/>
            <a:ext cx="3904697" cy="390469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425586-2A55-70A8-48EB-057D334BF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9668" y="3466290"/>
            <a:ext cx="4971307" cy="307766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8C3FC-B840-603C-AB3B-50C9A93C5C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923645"/>
            <a:ext cx="3932237" cy="35861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9F6724A-6CA5-B1F1-8B33-03BE4576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27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DD15B2-16C1-5496-1324-2F34D2E0B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844600" y="5520553"/>
            <a:ext cx="745764" cy="27243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D624D6F-4736-D146-34ED-FEB77043A8B7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019352-8E4A-1880-E888-383B43AEB19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69668" y="2443163"/>
            <a:ext cx="497130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F32587-9239-AFA8-A349-0F265FC818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84" y="1912253"/>
            <a:ext cx="1655762" cy="165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4802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594B8E1F-6996-D608-1840-30599B60DA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296" y="3428999"/>
            <a:ext cx="4961079" cy="4961079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D73A5D2-552B-7AA9-6FE4-E1FA3C2CC7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8059" y="-2356435"/>
            <a:ext cx="3904697" cy="3904697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9144000" cy="44944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88D8769-12CA-BD91-C6ED-3D6C81B47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38712" y="-1362161"/>
            <a:ext cx="745764" cy="2724322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8704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CFB88E4-D609-AC04-165B-26EC7863BC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74420" y="2870123"/>
            <a:ext cx="5519956" cy="551995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18355" y="4425385"/>
            <a:ext cx="8325846" cy="162212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 here</a:t>
            </a:r>
          </a:p>
          <a:p>
            <a:r>
              <a:rPr lang="en-GB"/>
              <a:t>Job title here</a:t>
            </a:r>
          </a:p>
          <a:p>
            <a:r>
              <a:rPr lang="en-GB"/>
              <a:t>The National Pharmacy Association</a:t>
            </a:r>
          </a:p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11AAF19F-E669-36B5-2F2B-266E1A866A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4291" y="4464046"/>
            <a:ext cx="1394428" cy="1395248"/>
          </a:xfrm>
          <a:prstGeom prst="teardrop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3F5AA4-E05F-1504-B5C4-93C1E73AA98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9118" y="1911198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757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13C86EF-8A09-BA99-54A4-E8C34E6A08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65017" y="-1494660"/>
            <a:ext cx="3918570" cy="3918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AAAFE5-F4A4-452F-410B-00F842559A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1" y="1594300"/>
            <a:ext cx="630853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082381-823E-96D7-FEA7-396A114D8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574433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92D0ED-FA3B-E1C3-CE0C-2FCEF59F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84181" y="-1362161"/>
            <a:ext cx="745764" cy="2724322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5305680-B6F6-870A-781B-1BBFDBAFFA9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9DD1B175-E0B7-DC20-88D5-1C79E22E5B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1093" y="1887608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71625B96-B4D4-D4E6-2ED1-BA55DDC0B5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4703" y="4639164"/>
            <a:ext cx="4473610" cy="44736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5103C7-4D53-2D26-81E6-CE4C79A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90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2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5BAE8F-CB20-BAA9-018F-44DA36F646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94538" y="-1"/>
            <a:ext cx="5097462" cy="350070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B88A6E80-F7F7-17A6-3BB1-D5C8DB65CF7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94538" y="3523559"/>
            <a:ext cx="5097459" cy="33344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50A1F6-DAF8-155E-EFD5-7151D2C53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212983"/>
            <a:ext cx="60452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0090CE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558C5-4CD6-1DF3-D645-3404124FE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042" y="2972198"/>
            <a:ext cx="6045200" cy="3500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3A424F"/>
                </a:solidFill>
              </a:defRPr>
            </a:lvl1pPr>
            <a:lvl2pPr>
              <a:defRPr sz="2000">
                <a:solidFill>
                  <a:srgbClr val="3A424F"/>
                </a:solidFill>
              </a:defRPr>
            </a:lvl2pPr>
            <a:lvl3pPr>
              <a:defRPr sz="1800">
                <a:solidFill>
                  <a:srgbClr val="3A424F"/>
                </a:solidFill>
              </a:defRPr>
            </a:lvl3pPr>
            <a:lvl4pPr>
              <a:defRPr sz="1600">
                <a:solidFill>
                  <a:srgbClr val="3A424F"/>
                </a:solidFill>
              </a:defRPr>
            </a:lvl4pPr>
            <a:lvl5pPr>
              <a:defRPr sz="1600"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E721CF9-F280-78C9-C0D4-B046589C88DB}"/>
              </a:ext>
            </a:extLst>
          </p:cNvPr>
          <p:cNvSpPr/>
          <p:nvPr userDrawn="1"/>
        </p:nvSpPr>
        <p:spPr>
          <a:xfrm>
            <a:off x="7048819" y="-1"/>
            <a:ext cx="45719" cy="6858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096FF4-5F7E-D83B-25FD-15446F4D303C}"/>
              </a:ext>
            </a:extLst>
          </p:cNvPr>
          <p:cNvSpPr/>
          <p:nvPr userDrawn="1"/>
        </p:nvSpPr>
        <p:spPr>
          <a:xfrm rot="5400000">
            <a:off x="9597549" y="951969"/>
            <a:ext cx="45719" cy="51431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487735F-7225-B37A-7154-89741281C2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39070F-F2DF-D19A-C6C7-6B0FBBD8B404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363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687F0529-5A1B-EDE6-822F-C2B8166881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23881" y="-2546904"/>
            <a:ext cx="3659257" cy="3659257"/>
          </a:xfrm>
          <a:prstGeom prst="rect">
            <a:avLst/>
          </a:prstGeom>
        </p:spPr>
      </p:pic>
      <p:pic>
        <p:nvPicPr>
          <p:cNvPr id="5" name="Picture 4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C0CAC1E3-C3D6-4EA0-D1C9-510C71393D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773" y="-717275"/>
            <a:ext cx="3659257" cy="36592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049F3D-E633-0ACE-B2BB-A3AD21BEE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39091"/>
            <a:ext cx="8772728" cy="70173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53522-6F54-224D-A46C-43BDB628E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87675"/>
            <a:ext cx="8772728" cy="21176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F1E6B3-76F2-AE77-19B6-32A3DF776C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5392" y="2250390"/>
            <a:ext cx="1516725" cy="1516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803E3E-27FA-A6B0-4B3F-DC76C1E61D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78891" y="5503596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6875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6557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AA76282-768D-7E49-D180-B485DADEC2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682859" y="-2095500"/>
            <a:ext cx="4157180" cy="4157180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6E541C7D-F874-7801-E283-F76C11F7C2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43496" y="-1367891"/>
            <a:ext cx="5410200" cy="5410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804E49-641E-FF54-5097-05FBBE91D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79245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41687-EF2C-59E5-C217-463879C844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376152"/>
            <a:ext cx="10515600" cy="85897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DD92C2-BD8F-6C0F-72E8-43425CFE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74165" y="-1362161"/>
            <a:ext cx="745764" cy="27243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84EC78-637C-7789-F8FE-B3BB5465A6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0180" y="5490061"/>
            <a:ext cx="1655762" cy="1655762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87FD93-89C5-70DE-2BEC-D9360B6CA602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1432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B8145B38-E1CB-DEA8-8EF3-195F00F09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2292" y="-1621738"/>
            <a:ext cx="3559869" cy="3559869"/>
          </a:xfrm>
          <a:prstGeom prst="rect">
            <a:avLst/>
          </a:prstGeom>
        </p:spPr>
      </p:pic>
      <p:pic>
        <p:nvPicPr>
          <p:cNvPr id="7" name="Picture 6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FE190A-BE79-9FF0-5AE1-8B8F12A436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6986" y="5771404"/>
            <a:ext cx="4593535" cy="45935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78CF30-E779-C483-A320-F5558596A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62891"/>
            <a:ext cx="8772728" cy="701731"/>
          </a:xfrm>
        </p:spPr>
        <p:txBody>
          <a:bodyPr>
            <a:spAutoFit/>
          </a:bodyPr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874C0A-7468-CB08-249C-DFA1D538B0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64A62-5995-5383-6F3A-7E66D0D0F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07F452-D889-1223-CD75-DCE914898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252" y="-237567"/>
            <a:ext cx="1516725" cy="15167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5BBD88-FCA0-7EA7-87FE-1EF3D88AA6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44104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0137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3928B1-887D-2916-226E-E22E8A2DD0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535445" y="4352926"/>
            <a:ext cx="4452937" cy="4452937"/>
          </a:xfrm>
          <a:prstGeom prst="rect">
            <a:avLst/>
          </a:prstGeom>
        </p:spPr>
      </p:pic>
      <p:pic>
        <p:nvPicPr>
          <p:cNvPr id="8" name="Picture 7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0A50425-406A-EC3C-7365-7B54BBFE76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5978" y="-1916418"/>
            <a:ext cx="4868069" cy="4868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31442F-BA31-6775-04B7-C5BADCE4D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318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C2287-38A4-A752-F3E8-931CDD0AB3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347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F2B376-AAE0-D1BD-1768-8F98681C30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39307"/>
            <a:ext cx="5157787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BD214-8418-12E3-F3DF-C0E00764BB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347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677B34-8A0C-B735-0B20-FA76C9A5E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39307"/>
            <a:ext cx="5183188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3FD4C2-A9E9-CDD4-EAA2-4ADB4A62C0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2" y="2741926"/>
            <a:ext cx="1516725" cy="15167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20756B-0C15-7E89-6800-7CA90A3A2F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632448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325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22BC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FF93C2E-32B2-FE2C-F18F-9788F217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89173" y="-2550982"/>
            <a:ext cx="4869143" cy="4869143"/>
          </a:xfrm>
          <a:prstGeom prst="rect">
            <a:avLst/>
          </a:prstGeom>
        </p:spPr>
      </p:pic>
      <p:pic>
        <p:nvPicPr>
          <p:cNvPr id="4" name="Picture 3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BB8D8F1B-E58E-642E-D1EB-4657A7C5E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16668" y="3577656"/>
            <a:ext cx="4869143" cy="48691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C3884C-8EF9-7DD2-10D2-A924A8EEE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3638" y="-1362161"/>
            <a:ext cx="745764" cy="2724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4020A47-C743-17AB-FB88-D763942999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373" y="1760935"/>
            <a:ext cx="1655762" cy="165576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B0BA0F1-DFFD-80E2-DC45-EF5EDD180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22102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683E75-4DB4-17DB-2052-835B3DB5B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838140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5A73B61-CE51-EE7E-096D-54BFBB867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829535"/>
            <a:ext cx="5157787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4361D7-79E1-9D7B-F952-8638CE000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2200" y="2838140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B1E8BB2F-FB4E-AA68-918D-0271327036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829535"/>
            <a:ext cx="5183188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6F91CB0-A38D-5F2B-D79E-0DC70B2DF0A4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4565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80438" y="-1362161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FC51DEB1-ED5F-CD5D-E08B-32B717FD35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76996" y="-3579270"/>
            <a:ext cx="4869143" cy="4869143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3FE79465-4B7A-2FC1-F413-A5E806104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713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4155826-9C83-7D46-4DD6-9E5BA692E6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9145" y="-2069447"/>
            <a:ext cx="4869143" cy="4869143"/>
          </a:xfrm>
          <a:prstGeom prst="rect">
            <a:avLst/>
          </a:prstGeom>
        </p:spPr>
      </p:pic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02971DE-D91F-0473-1BC5-9744B1C44A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038413" y="5503596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819417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0D5155-F22C-E471-08EF-38763A8C7B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7562" y="-692301"/>
            <a:ext cx="1655762" cy="1655762"/>
          </a:xfrm>
          <a:prstGeom prst="rect">
            <a:avLst/>
          </a:prstGeom>
        </p:spPr>
      </p:pic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C03BC15-4460-27E5-0D1D-49A07A1AF5A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838200" y="1891996"/>
            <a:ext cx="7820025" cy="41586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7889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38BA8FC-22BB-5151-9462-33FC08AEA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87504" y="5495839"/>
            <a:ext cx="745764" cy="272432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B0DFCF6-C03D-C7DE-194E-CD53DEC4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180F42-E6D0-10D9-BF85-55E0EF1DBD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2548" y="-3067766"/>
            <a:ext cx="4439614" cy="443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915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2A1528-7E90-E5E9-1F7F-4DA4E912FC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548" y="-1621738"/>
            <a:ext cx="4439614" cy="4439614"/>
          </a:xfrm>
          <a:prstGeom prst="rect">
            <a:avLst/>
          </a:prstGeom>
        </p:spPr>
      </p:pic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91AC1C48-A9DD-3F33-C399-1613FC59F8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659" y="2164383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1CB63A-EA08-EC74-DD4C-8C22CC543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73" y="5550199"/>
            <a:ext cx="1516725" cy="15167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8EF2A6-E49C-5331-C9FF-E408AA5694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7" y="2838450"/>
            <a:ext cx="5855959" cy="2401201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A4FDE35-96ED-495B-AF20-C2B7AC77B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61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4313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D1D94E0-762B-06D3-03CF-7D1E82F3D5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475" y="-2635810"/>
            <a:ext cx="4869143" cy="4869143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865F2E57-9FB8-E737-3801-ADB1FFF1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4909" y="4326173"/>
            <a:ext cx="3904697" cy="390469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425586-2A55-70A8-48EB-057D334BF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9668" y="3466290"/>
            <a:ext cx="4971307" cy="307766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8C3FC-B840-603C-AB3B-50C9A93C5C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923645"/>
            <a:ext cx="3932237" cy="35861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9F6724A-6CA5-B1F1-8B33-03BE4576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27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DD15B2-16C1-5496-1324-2F34D2E0B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844600" y="5520553"/>
            <a:ext cx="745764" cy="27243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D624D6F-4736-D146-34ED-FEB77043A8B7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019352-8E4A-1880-E888-383B43AEB19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69668" y="2443163"/>
            <a:ext cx="497130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F32587-9239-AFA8-A349-0F265FC818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84" y="1912253"/>
            <a:ext cx="1655762" cy="165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501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1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5BAE8F-CB20-BAA9-018F-44DA36F646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94538" y="-1"/>
            <a:ext cx="5097462" cy="685800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50A1F6-DAF8-155E-EFD5-7151D2C53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212983"/>
            <a:ext cx="60452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0090CE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558C5-4CD6-1DF3-D645-3404124FE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042" y="2972198"/>
            <a:ext cx="6045200" cy="3500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3A424F"/>
                </a:solidFill>
              </a:defRPr>
            </a:lvl1pPr>
            <a:lvl2pPr>
              <a:defRPr sz="2000">
                <a:solidFill>
                  <a:srgbClr val="3A424F"/>
                </a:solidFill>
              </a:defRPr>
            </a:lvl2pPr>
            <a:lvl3pPr>
              <a:defRPr sz="1800">
                <a:solidFill>
                  <a:srgbClr val="3A424F"/>
                </a:solidFill>
              </a:defRPr>
            </a:lvl3pPr>
            <a:lvl4pPr>
              <a:defRPr sz="1600">
                <a:solidFill>
                  <a:srgbClr val="3A424F"/>
                </a:solidFill>
              </a:defRPr>
            </a:lvl4pPr>
            <a:lvl5pPr>
              <a:defRPr sz="1600"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E721CF9-F280-78C9-C0D4-B046589C88DB}"/>
              </a:ext>
            </a:extLst>
          </p:cNvPr>
          <p:cNvSpPr/>
          <p:nvPr userDrawn="1"/>
        </p:nvSpPr>
        <p:spPr>
          <a:xfrm>
            <a:off x="7048819" y="-1"/>
            <a:ext cx="45719" cy="6858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48C0FEE-CEC5-52DC-6AD6-5B0F3DBEFD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260B417-CB81-7B59-C42B-002D14E39F5F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3590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594B8E1F-6996-D608-1840-30599B60DA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296" y="3428999"/>
            <a:ext cx="4961079" cy="4961079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D73A5D2-552B-7AA9-6FE4-E1FA3C2CC7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8059" y="-2356435"/>
            <a:ext cx="3904697" cy="3904697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9144000" cy="44944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88D8769-12CA-BD91-C6ED-3D6C81B47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38712" y="-1362161"/>
            <a:ext cx="745764" cy="2724322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1140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CFB88E4-D609-AC04-165B-26EC7863BC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74420" y="2870123"/>
            <a:ext cx="5519956" cy="551995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18355" y="4425385"/>
            <a:ext cx="8325846" cy="162212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 here</a:t>
            </a:r>
          </a:p>
          <a:p>
            <a:r>
              <a:rPr lang="en-GB"/>
              <a:t>Job title here</a:t>
            </a:r>
          </a:p>
          <a:p>
            <a:r>
              <a:rPr lang="en-GB"/>
              <a:t>The National Pharmacy Association</a:t>
            </a:r>
          </a:p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11AAF19F-E669-36B5-2F2B-266E1A866A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4291" y="4464046"/>
            <a:ext cx="1394428" cy="1395248"/>
          </a:xfrm>
          <a:prstGeom prst="teardrop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3F5AA4-E05F-1504-B5C4-93C1E73AA98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9118" y="1911198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5407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13C86EF-8A09-BA99-54A4-E8C34E6A08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65017" y="-1494660"/>
            <a:ext cx="3918570" cy="3918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AAAFE5-F4A4-452F-410B-00F842559A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1" y="1594300"/>
            <a:ext cx="630853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082381-823E-96D7-FEA7-396A114D8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574433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92D0ED-FA3B-E1C3-CE0C-2FCEF59F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84181" y="-1362161"/>
            <a:ext cx="745764" cy="2724322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5305680-B6F6-870A-781B-1BBFDBAFFA9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9DD1B175-E0B7-DC20-88D5-1C79E22E5B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1093" y="1887608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71625B96-B4D4-D4E6-2ED1-BA55DDC0B5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4703" y="4639164"/>
            <a:ext cx="4473610" cy="44736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5103C7-4D53-2D26-81E6-CE4C79A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2230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687F0529-5A1B-EDE6-822F-C2B8166881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23881" y="-2546904"/>
            <a:ext cx="3659257" cy="3659257"/>
          </a:xfrm>
          <a:prstGeom prst="rect">
            <a:avLst/>
          </a:prstGeom>
        </p:spPr>
      </p:pic>
      <p:pic>
        <p:nvPicPr>
          <p:cNvPr id="5" name="Picture 4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C0CAC1E3-C3D6-4EA0-D1C9-510C71393D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773" y="-717275"/>
            <a:ext cx="3659257" cy="36592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049F3D-E633-0ACE-B2BB-A3AD21BEE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04406"/>
            <a:ext cx="8772728" cy="70173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53522-6F54-224D-A46C-43BDB628E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50391"/>
            <a:ext cx="8772728" cy="28549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F1E6B3-76F2-AE77-19B6-32A3DF776C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5392" y="2250390"/>
            <a:ext cx="1516725" cy="1516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803E3E-27FA-A6B0-4B3F-DC76C1E61D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78891" y="5503596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9068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6557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AA76282-768D-7E49-D180-B485DADEC2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682859" y="-2095500"/>
            <a:ext cx="4157180" cy="4157180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6E541C7D-F874-7801-E283-F76C11F7C2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43496" y="-1367891"/>
            <a:ext cx="5410200" cy="5410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804E49-641E-FF54-5097-05FBBE91D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79245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41687-EF2C-59E5-C217-463879C844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376152"/>
            <a:ext cx="10515600" cy="85897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DD92C2-BD8F-6C0F-72E8-43425CFE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74165" y="-1362161"/>
            <a:ext cx="745764" cy="27243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84EC78-637C-7789-F8FE-B3BB5465A6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0180" y="5490061"/>
            <a:ext cx="1655762" cy="1655762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87FD93-89C5-70DE-2BEC-D9360B6CA602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3145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B8145B38-E1CB-DEA8-8EF3-195F00F09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2292" y="-1621738"/>
            <a:ext cx="3559869" cy="3559869"/>
          </a:xfrm>
          <a:prstGeom prst="rect">
            <a:avLst/>
          </a:prstGeom>
        </p:spPr>
      </p:pic>
      <p:pic>
        <p:nvPicPr>
          <p:cNvPr id="7" name="Picture 6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FE190A-BE79-9FF0-5AE1-8B8F12A436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6986" y="5771404"/>
            <a:ext cx="4593535" cy="45935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78CF30-E779-C483-A320-F5558596A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62891"/>
            <a:ext cx="8772728" cy="701731"/>
          </a:xfrm>
        </p:spPr>
        <p:txBody>
          <a:bodyPr>
            <a:spAutoFit/>
          </a:bodyPr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874C0A-7468-CB08-249C-DFA1D538B0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64A62-5995-5383-6F3A-7E66D0D0F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07F452-D889-1223-CD75-DCE914898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252" y="-237567"/>
            <a:ext cx="1516725" cy="15167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5BBD88-FCA0-7EA7-87FE-1EF3D88AA6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44104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3662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3928B1-887D-2916-226E-E22E8A2DD0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535445" y="4352926"/>
            <a:ext cx="4452937" cy="4452937"/>
          </a:xfrm>
          <a:prstGeom prst="rect">
            <a:avLst/>
          </a:prstGeom>
        </p:spPr>
      </p:pic>
      <p:pic>
        <p:nvPicPr>
          <p:cNvPr id="8" name="Picture 7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0A50425-406A-EC3C-7365-7B54BBFE76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5978" y="-1916418"/>
            <a:ext cx="4868069" cy="4868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31442F-BA31-6775-04B7-C5BADCE4D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318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C2287-38A4-A752-F3E8-931CDD0AB3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347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F2B376-AAE0-D1BD-1768-8F98681C30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39307"/>
            <a:ext cx="5157787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BD214-8418-12E3-F3DF-C0E00764BB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347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677B34-8A0C-B735-0B20-FA76C9A5E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39307"/>
            <a:ext cx="5183188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3FD4C2-A9E9-CDD4-EAA2-4ADB4A62C0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2" y="2741926"/>
            <a:ext cx="1516725" cy="15167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20756B-0C15-7E89-6800-7CA90A3A2F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632448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7632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22BC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FF93C2E-32B2-FE2C-F18F-9788F217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89173" y="-2550982"/>
            <a:ext cx="4869143" cy="4869143"/>
          </a:xfrm>
          <a:prstGeom prst="rect">
            <a:avLst/>
          </a:prstGeom>
        </p:spPr>
      </p:pic>
      <p:pic>
        <p:nvPicPr>
          <p:cNvPr id="4" name="Picture 3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BB8D8F1B-E58E-642E-D1EB-4657A7C5E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16668" y="3577656"/>
            <a:ext cx="4869143" cy="48691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C3884C-8EF9-7DD2-10D2-A924A8EEE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3638" y="-1362161"/>
            <a:ext cx="745764" cy="2724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4020A47-C743-17AB-FB88-D763942999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373" y="1760935"/>
            <a:ext cx="1655762" cy="165576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B0BA0F1-DFFD-80E2-DC45-EF5EDD180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22102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683E75-4DB4-17DB-2052-835B3DB5B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838140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5A73B61-CE51-EE7E-096D-54BFBB867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829535"/>
            <a:ext cx="5157787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4361D7-79E1-9D7B-F952-8638CE000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2200" y="2838140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B1E8BB2F-FB4E-AA68-918D-0271327036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829535"/>
            <a:ext cx="5183188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6F91CB0-A38D-5F2B-D79E-0DC70B2DF0A4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7229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80438" y="-1362161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FC51DEB1-ED5F-CD5D-E08B-32B717FD35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76996" y="-3579270"/>
            <a:ext cx="4869143" cy="4869143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3FE79465-4B7A-2FC1-F413-A5E806104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0930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4155826-9C83-7D46-4DD6-9E5BA692E6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9145" y="-2069447"/>
            <a:ext cx="4869143" cy="4869143"/>
          </a:xfrm>
          <a:prstGeom prst="rect">
            <a:avLst/>
          </a:prstGeom>
        </p:spPr>
      </p:pic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02971DE-D91F-0473-1BC5-9744B1C44A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038413" y="5503596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819417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0D5155-F22C-E471-08EF-38763A8C7B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7562" y="-692301"/>
            <a:ext cx="1655762" cy="1655762"/>
          </a:xfrm>
          <a:prstGeom prst="rect">
            <a:avLst/>
          </a:prstGeom>
        </p:spPr>
      </p:pic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C03BC15-4460-27E5-0D1D-49A07A1AF5A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838200" y="1891996"/>
            <a:ext cx="7820025" cy="41586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846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ise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1956EBE-F1A9-CC52-7777-374E773927C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01688" y="2972198"/>
            <a:ext cx="9588624" cy="3500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3A424F"/>
                </a:solidFill>
              </a:defRPr>
            </a:lvl1pPr>
            <a:lvl2pPr marL="457200" indent="0" algn="ctr">
              <a:buNone/>
              <a:defRPr sz="2000">
                <a:solidFill>
                  <a:srgbClr val="3A424F"/>
                </a:solidFill>
              </a:defRPr>
            </a:lvl2pPr>
            <a:lvl3pPr marL="914400" indent="0" algn="ctr">
              <a:buNone/>
              <a:defRPr sz="1800">
                <a:solidFill>
                  <a:srgbClr val="3A424F"/>
                </a:solidFill>
              </a:defRPr>
            </a:lvl3pPr>
            <a:lvl4pPr marL="1371600" indent="0" algn="ctr">
              <a:buNone/>
              <a:defRPr sz="1600">
                <a:solidFill>
                  <a:srgbClr val="3A424F"/>
                </a:solidFill>
              </a:defRPr>
            </a:lvl4pPr>
            <a:lvl5pPr marL="1828800" indent="0" algn="ctr">
              <a:buNone/>
              <a:defRPr sz="1600"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2C5702-2C87-CCFE-72EC-808053114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0F1FBA4-9E24-851D-6735-49C1E636806F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A6A5FB-9757-1E86-EBBC-7ED49E14D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1688" y="1306991"/>
            <a:ext cx="9604160" cy="1325563"/>
          </a:xfrm>
        </p:spPr>
        <p:txBody>
          <a:bodyPr/>
          <a:lstStyle>
            <a:lvl1pPr algn="ctr">
              <a:defRPr>
                <a:solidFill>
                  <a:srgbClr val="0090CE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38355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38BA8FC-22BB-5151-9462-33FC08AEA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87504" y="5495839"/>
            <a:ext cx="745764" cy="272432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B0DFCF6-C03D-C7DE-194E-CD53DEC4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180F42-E6D0-10D9-BF85-55E0EF1DBD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2548" y="-3067766"/>
            <a:ext cx="4439614" cy="443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8888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2A1528-7E90-E5E9-1F7F-4DA4E912FC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548" y="-1621738"/>
            <a:ext cx="4439614" cy="4439614"/>
          </a:xfrm>
          <a:prstGeom prst="rect">
            <a:avLst/>
          </a:prstGeom>
        </p:spPr>
      </p:pic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91AC1C48-A9DD-3F33-C399-1613FC59F8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659" y="2164383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1CB63A-EA08-EC74-DD4C-8C22CC543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73" y="5550199"/>
            <a:ext cx="1516725" cy="15167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8EF2A6-E49C-5331-C9FF-E408AA5694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7" y="2838450"/>
            <a:ext cx="5855959" cy="2401201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A4FDE35-96ED-495B-AF20-C2B7AC77B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61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9888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D1D94E0-762B-06D3-03CF-7D1E82F3D5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475" y="-2635810"/>
            <a:ext cx="4869143" cy="4869143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865F2E57-9FB8-E737-3801-ADB1FFF1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4909" y="4326173"/>
            <a:ext cx="3904697" cy="390469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425586-2A55-70A8-48EB-057D334BF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9668" y="3466290"/>
            <a:ext cx="4971307" cy="307766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8C3FC-B840-603C-AB3B-50C9A93C5C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923645"/>
            <a:ext cx="3932237" cy="35861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9F6724A-6CA5-B1F1-8B33-03BE4576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27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DD15B2-16C1-5496-1324-2F34D2E0B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844600" y="5520553"/>
            <a:ext cx="745764" cy="27243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D624D6F-4736-D146-34ED-FEB77043A8B7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019352-8E4A-1880-E888-383B43AEB19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69668" y="2443163"/>
            <a:ext cx="497130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F32587-9239-AFA8-A349-0F265FC818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84" y="1912253"/>
            <a:ext cx="1655762" cy="165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5376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594B8E1F-6996-D608-1840-30599B60DA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296" y="3428999"/>
            <a:ext cx="4961079" cy="4961079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D73A5D2-552B-7AA9-6FE4-E1FA3C2CC7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8059" y="-2356435"/>
            <a:ext cx="3904697" cy="3904697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9144000" cy="44944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88D8769-12CA-BD91-C6ED-3D6C81B47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38712" y="-1362161"/>
            <a:ext cx="745764" cy="2724322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1027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CFB88E4-D609-AC04-165B-26EC7863BC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74420" y="2870123"/>
            <a:ext cx="5519956" cy="551995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18355" y="4425385"/>
            <a:ext cx="8325846" cy="162212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 here</a:t>
            </a:r>
          </a:p>
          <a:p>
            <a:r>
              <a:rPr lang="en-GB"/>
              <a:t>Job title here</a:t>
            </a:r>
          </a:p>
          <a:p>
            <a:r>
              <a:rPr lang="en-GB"/>
              <a:t>The National Pharmacy Association</a:t>
            </a:r>
          </a:p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11AAF19F-E669-36B5-2F2B-266E1A866A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4291" y="4464046"/>
            <a:ext cx="1394428" cy="1395248"/>
          </a:xfrm>
          <a:prstGeom prst="teardrop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3F5AA4-E05F-1504-B5C4-93C1E73AA98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9118" y="1911198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7955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itle and 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3A534-42CF-7493-B77C-CEA3F9C97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2983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CE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B672E6-64B6-E75E-29FA-03F5058F02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73483"/>
            <a:ext cx="5181600" cy="34166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</a:defRPr>
            </a:lvl1pPr>
            <a:lvl2pPr>
              <a:defRPr>
                <a:solidFill>
                  <a:srgbClr val="3A424F"/>
                </a:solidFill>
              </a:defRPr>
            </a:lvl2pPr>
            <a:lvl3pPr>
              <a:defRPr>
                <a:solidFill>
                  <a:srgbClr val="3A424F"/>
                </a:solidFill>
              </a:defRPr>
            </a:lvl3pPr>
            <a:lvl4pPr>
              <a:defRPr>
                <a:solidFill>
                  <a:srgbClr val="3A424F"/>
                </a:solidFill>
              </a:defRPr>
            </a:lvl4pPr>
            <a:lvl5pPr>
              <a:defRPr>
                <a:solidFill>
                  <a:srgbClr val="3A424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3F07F8-0A24-1D9C-8808-7CA6BFAF48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673483"/>
            <a:ext cx="5181600" cy="34166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</a:defRPr>
            </a:lvl1pPr>
            <a:lvl2pPr>
              <a:defRPr>
                <a:solidFill>
                  <a:srgbClr val="3A424F"/>
                </a:solidFill>
              </a:defRPr>
            </a:lvl2pPr>
            <a:lvl3pPr>
              <a:defRPr>
                <a:solidFill>
                  <a:srgbClr val="3A424F"/>
                </a:solidFill>
              </a:defRPr>
            </a:lvl3pPr>
            <a:lvl4pPr>
              <a:defRPr>
                <a:solidFill>
                  <a:srgbClr val="3A424F"/>
                </a:solidFill>
              </a:defRPr>
            </a:lvl4pPr>
            <a:lvl5pPr>
              <a:defRPr>
                <a:solidFill>
                  <a:srgbClr val="3A424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735390-19F3-8BF4-6600-08FCE91AE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BED601F-8AB9-B0F2-44F3-43B45F3BC411}"/>
              </a:ext>
            </a:extLst>
          </p:cNvPr>
          <p:cNvSpPr txBox="1">
            <a:spLocks/>
          </p:cNvSpPr>
          <p:nvPr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77BC5D-7D94-9C20-3C93-D9BAF79177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400F4F-5A10-377C-E3CD-7320D143865B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0034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6CB74-6CDD-B22F-3E5B-6D853D8383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CFB180-863D-631C-349F-96F12FE27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03187F-8B56-D44F-B180-6FD369B19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735DEF-8CF4-141E-F884-D0286936A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DADF3E-E710-93EC-4EDD-4E515D85C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4927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5E768-4FB6-1CCA-AC1C-E4C6AC6FE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846DC-7B5D-0647-C1C7-DDB3DE962F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2100C-F541-E6B7-ED33-E5CEB6FFC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BFBBD1-29C7-1706-3FE5-251D02121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34BC76-D49F-029D-94A2-7A3E8410E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27598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5B6A05-820C-C522-4F29-DED100E38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0ABF7B-8394-2560-A2F5-AADEB9E908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1CC022-98CA-27CA-BBF9-B8CF28CCA0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B69953-77C1-22C3-7118-290E84BDC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A4B04D-AA44-774A-3A74-2C68B70E9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90530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21779-2DBE-AC37-2618-3B8C08C35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91FCE0-97E8-A32A-86AE-24D4787E13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AC73F3-94CD-583B-C0CC-57F684565B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A62444-2DF2-D219-82CC-53EDFA8CA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3007ED-0499-4353-21D2-02F4DB6DC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300766-95FC-F383-C872-7BD7F7547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6633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3A534-42CF-7493-B77C-CEA3F9C97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2983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CE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B672E6-64B6-E75E-29FA-03F5058F02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73483"/>
            <a:ext cx="5181600" cy="34166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</a:defRPr>
            </a:lvl1pPr>
            <a:lvl2pPr>
              <a:defRPr>
                <a:solidFill>
                  <a:srgbClr val="3A424F"/>
                </a:solidFill>
              </a:defRPr>
            </a:lvl2pPr>
            <a:lvl3pPr>
              <a:defRPr>
                <a:solidFill>
                  <a:srgbClr val="3A424F"/>
                </a:solidFill>
              </a:defRPr>
            </a:lvl3pPr>
            <a:lvl4pPr>
              <a:defRPr>
                <a:solidFill>
                  <a:srgbClr val="3A424F"/>
                </a:solidFill>
              </a:defRPr>
            </a:lvl4pPr>
            <a:lvl5pPr>
              <a:defRPr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3F07F8-0A24-1D9C-8808-7CA6BFAF48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673483"/>
            <a:ext cx="5181600" cy="34166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</a:defRPr>
            </a:lvl1pPr>
            <a:lvl2pPr>
              <a:defRPr>
                <a:solidFill>
                  <a:srgbClr val="3A424F"/>
                </a:solidFill>
              </a:defRPr>
            </a:lvl2pPr>
            <a:lvl3pPr>
              <a:defRPr>
                <a:solidFill>
                  <a:srgbClr val="3A424F"/>
                </a:solidFill>
              </a:defRPr>
            </a:lvl3pPr>
            <a:lvl4pPr>
              <a:defRPr>
                <a:solidFill>
                  <a:srgbClr val="3A424F"/>
                </a:solidFill>
              </a:defRPr>
            </a:lvl4pPr>
            <a:lvl5pPr>
              <a:defRPr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735390-19F3-8BF4-6600-08FCE91AEE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BED601F-8AB9-B0F2-44F3-43B45F3BC411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7499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06045-7791-1BD4-E5DD-4A776F13A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23BDE-DEF6-E117-6D96-A647AAE978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3854DC-514B-CE35-A61C-83439B0FC6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083FFB-C342-0063-77EC-28F238543F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339272A-3D15-3D86-EBFF-A6B483CA5D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0CEF7E-B3C2-9220-83F3-39C78999C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53DF84-1199-D233-E314-3512F0170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667B95-D4C4-7026-474A-2D2EC1D1A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7081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C727C4-85C1-1BA8-E408-E55FCF17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EBDE40-B07F-D590-2646-E92DC9794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3DA478-6FEE-352D-1610-51E5C10F9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5EB3A-5562-1C50-E56D-906E4E3A1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78100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9897A8-AE12-26FC-797C-B4E51FE62C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B0BDCC-857F-B83B-C1CF-5FBCAA293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C3AD6F-2261-F23D-26C5-1FC3AB78B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36650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29573-5D39-6DAF-748B-BD58E4F17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2B6FB2-1F21-AE8E-2FF0-389CF27D80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B9D91C-700B-69C8-7ECD-78E763783E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789A05-E50A-89B1-5C3F-95ED493D5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3C602-01BC-601D-7EC6-D85B80617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07AAA4-56EF-1AA9-7F39-B4D3F4992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96513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75B47-7F3C-DB3D-C779-6C5429F51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43A205-474A-736A-816B-4A2A4A7F08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E073B3-77E7-D237-0A1C-DDD4D3E554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48F4AD-8C80-E0F8-D295-D7048C96E9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CFA0B-625D-35BB-C124-7717F5AD5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38FC42-24DD-3F94-8408-5D3093030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7308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E4A553-86BC-4061-E885-198459E36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78B5B9-88C7-5577-63E7-B30A02DC6E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7A2B1-37F3-2A92-9306-3ADA73225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D51B6E-898F-37D4-1C70-51FAB0DEF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C8C8F1-134A-50F8-2139-AE88D887E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45723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8B014A-2E8B-A67A-9BB7-50570FDCFA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54BF02-C6BA-C433-1B12-97DB65E3D9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B69BF3-83B7-35D5-FF0D-228284427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B3AD22-C314-AB21-AD1D-3092CF775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F7CF02-EB7A-49AC-5EB9-032088442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1213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13C86EF-8A09-BA99-54A4-E8C34E6A08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65017" y="-1494660"/>
            <a:ext cx="3918570" cy="3918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AAAFE5-F4A4-452F-410B-00F842559A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1" y="1594300"/>
            <a:ext cx="630853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082381-823E-96D7-FEA7-396A114D8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574433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92D0ED-FA3B-E1C3-CE0C-2FCEF59F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84181" y="-1362161"/>
            <a:ext cx="745764" cy="2724322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5305680-B6F6-870A-781B-1BBFDBAFFA9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9DD1B175-E0B7-DC20-88D5-1C79E22E5B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1093" y="1887608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71625B96-B4D4-D4E6-2ED1-BA55DDC0B5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4703" y="4639164"/>
            <a:ext cx="4473610" cy="44736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5103C7-4D53-2D26-81E6-CE4C79A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550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8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68145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x conten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F55EC-2F66-DBCE-FE49-1687D3CD5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2983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CE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35628-2BDF-FEAF-FE57-401A2495EA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529021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3A424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AE0488-582C-A2EB-E5D6-9F64D411C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52933"/>
            <a:ext cx="5157787" cy="30243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</a:defRPr>
            </a:lvl1pPr>
            <a:lvl2pPr>
              <a:defRPr>
                <a:solidFill>
                  <a:srgbClr val="3A424F"/>
                </a:solidFill>
              </a:defRPr>
            </a:lvl2pPr>
            <a:lvl3pPr>
              <a:defRPr>
                <a:solidFill>
                  <a:srgbClr val="3A424F"/>
                </a:solidFill>
              </a:defRPr>
            </a:lvl3pPr>
            <a:lvl4pPr>
              <a:defRPr>
                <a:solidFill>
                  <a:srgbClr val="3A424F"/>
                </a:solidFill>
              </a:defRPr>
            </a:lvl4pPr>
            <a:lvl5pPr>
              <a:defRPr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7CF20-B179-9F68-7B19-EE15FE392B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529021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3A424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F5E079-2679-9BFF-DD68-35A99817CD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52933"/>
            <a:ext cx="5183188" cy="30243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A424F"/>
                </a:solidFill>
              </a:defRPr>
            </a:lvl1pPr>
            <a:lvl2pPr>
              <a:defRPr>
                <a:solidFill>
                  <a:srgbClr val="3A424F"/>
                </a:solidFill>
              </a:defRPr>
            </a:lvl2pPr>
            <a:lvl3pPr>
              <a:defRPr>
                <a:solidFill>
                  <a:srgbClr val="3A424F"/>
                </a:solidFill>
              </a:defRPr>
            </a:lvl3pPr>
            <a:lvl4pPr>
              <a:defRPr>
                <a:solidFill>
                  <a:srgbClr val="3A424F"/>
                </a:solidFill>
              </a:defRPr>
            </a:lvl4pPr>
            <a:lvl5pPr>
              <a:defRPr>
                <a:solidFill>
                  <a:srgbClr val="3A424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0788F2-BEBF-7177-28B8-98141EB5D8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69FC224-A0FF-34D8-9474-3AE25CAD05DC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1353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18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8475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103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26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42569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47624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9191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838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54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01">
          <p15:clr>
            <a:srgbClr val="FBAE40"/>
          </p15:clr>
        </p15:guide>
        <p15:guide id="4" pos="23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6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 / 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0A1F6-DAF8-155E-EFD5-7151D2C53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42" y="1212983"/>
            <a:ext cx="60452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0090CE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558C5-4CD6-1DF3-D645-3404124FE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042" y="2972198"/>
            <a:ext cx="6045200" cy="3500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3A424F"/>
                </a:solidFill>
              </a:defRPr>
            </a:lvl1pPr>
            <a:lvl2pPr>
              <a:defRPr sz="2000">
                <a:solidFill>
                  <a:srgbClr val="3A424F"/>
                </a:solidFill>
              </a:defRPr>
            </a:lvl2pPr>
            <a:lvl3pPr>
              <a:defRPr sz="1800">
                <a:solidFill>
                  <a:srgbClr val="3A424F"/>
                </a:solidFill>
              </a:defRPr>
            </a:lvl3pPr>
            <a:lvl4pPr>
              <a:defRPr sz="1600">
                <a:solidFill>
                  <a:srgbClr val="3A424F"/>
                </a:solidFill>
              </a:defRPr>
            </a:lvl4pPr>
            <a:lvl5pPr>
              <a:defRPr sz="1600">
                <a:solidFill>
                  <a:srgbClr val="3A424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5BAE8F-CB20-BAA9-018F-44DA36F646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26943" y="-1"/>
            <a:ext cx="5365057" cy="412068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E721CF9-F280-78C9-C0D4-B046589C88DB}"/>
              </a:ext>
            </a:extLst>
          </p:cNvPr>
          <p:cNvSpPr/>
          <p:nvPr userDrawn="1"/>
        </p:nvSpPr>
        <p:spPr>
          <a:xfrm>
            <a:off x="6781224" y="-1"/>
            <a:ext cx="45719" cy="6858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096FF4-5F7E-D83B-25FD-15446F4D303C}"/>
              </a:ext>
            </a:extLst>
          </p:cNvPr>
          <p:cNvSpPr/>
          <p:nvPr userDrawn="1"/>
        </p:nvSpPr>
        <p:spPr>
          <a:xfrm rot="5400000">
            <a:off x="9457691" y="1386374"/>
            <a:ext cx="57840" cy="54107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BFBBE-016C-4D4B-EE0E-50C22840BA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1313"/>
            <a:ext cx="1000958" cy="376035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1B908D-AFB1-5FC5-DB8F-C3519E8C96AF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rgbClr val="31BCAF"/>
                </a:solidFill>
              </a:rPr>
              <a:pPr/>
              <a:t>‹#›</a:t>
            </a:fld>
            <a:endParaRPr lang="en-GB" dirty="0">
              <a:solidFill>
                <a:srgbClr val="31BCAF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A94D51-7219-EAF3-EFAD-970F2A189F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4677" y="4632003"/>
            <a:ext cx="2234926" cy="1840897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90CE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Name, Title, Emai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C12757D-314B-91F4-D18B-BB075E6302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48332" y="4632003"/>
            <a:ext cx="2234926" cy="1840897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90CE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Name, Title, Email</a:t>
            </a:r>
          </a:p>
        </p:txBody>
      </p:sp>
    </p:spTree>
    <p:extLst>
      <p:ext uri="{BB962C8B-B14F-4D97-AF65-F5344CB8AC3E}">
        <p14:creationId xmlns:p14="http://schemas.microsoft.com/office/powerpoint/2010/main" val="24892250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6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69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5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01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35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1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56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30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009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FDC692E-7E1A-BEF2-CAB4-A24F85210EA2}"/>
              </a:ext>
            </a:extLst>
          </p:cNvPr>
          <p:cNvSpPr txBox="1">
            <a:spLocks/>
          </p:cNvSpPr>
          <p:nvPr userDrawn="1"/>
        </p:nvSpPr>
        <p:spPr>
          <a:xfrm>
            <a:off x="523042" y="414206"/>
            <a:ext cx="911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rgbClr val="31BC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567395-D615-47F2-9153-257BD6645D83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08B1DE-88E5-B308-29D8-5A3A0110EE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2842" y="5965953"/>
            <a:ext cx="1000958" cy="3760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EB3B7E-4434-4D32-D589-29D468728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6463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461677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420635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70874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42870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0205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4354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07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300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0266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39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34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9" Type="http://schemas.openxmlformats.org/officeDocument/2006/relationships/image" Target="../media/image10.emf"/><Relationship Id="rId21" Type="http://schemas.openxmlformats.org/officeDocument/2006/relationships/slideLayout" Target="../slideLayouts/slideLayout88.xml"/><Relationship Id="rId34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00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98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6FC555-E98A-5AC0-F20E-99BBA0294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B4B4A2-AF56-60EF-028B-411844FA81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9AEB56-7C73-F404-A82A-D558411E9D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1CD2B10-ADB5-4489-A4EE-71A95DAEF02C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03BA48-FF58-5C60-3E8D-6C7727C7B2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775F9F-F687-A49C-DB82-7D44706D0F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0567395-D615-47F2-9153-257BD6645D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779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B12D549-E193-7A46-C251-698E3F3B4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72391"/>
            <a:ext cx="8772728" cy="7017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A0AF6-3825-CA16-531F-A29B43D19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720975"/>
            <a:ext cx="8772728" cy="211763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DCF06EE-A5AE-7E20-418E-30096492B8E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/>
              <a:pPr/>
              <a:t>‹#›</a:t>
            </a:fld>
            <a:endParaRPr lang="en-US" b="1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E86F43B-CA48-6C1A-52EC-4016A6CC9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1804" y="6190905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490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ts val="28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8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11430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6002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20574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B12D549-E193-7A46-C251-698E3F3B4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72391"/>
            <a:ext cx="8772728" cy="7017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A0AF6-3825-CA16-531F-A29B43D19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720975"/>
            <a:ext cx="8772728" cy="211763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DCF06EE-A5AE-7E20-418E-30096492B8E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/>
              <a:pPr/>
              <a:t>‹#›</a:t>
            </a:fld>
            <a:endParaRPr lang="en-US" b="1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E86F43B-CA48-6C1A-52EC-4016A6CC9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1804" y="6190905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2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  <p:sldLayoutId id="2147483793" r:id="rId26"/>
    <p:sldLayoutId id="2147483794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ts val="28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8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11430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6002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20574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FF6554-16DA-F792-E340-BA6E5446C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B4F777-97B6-7FC9-9425-863F5A055C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09433-495A-BD8E-353C-1CE6643460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963C0-6A72-4781-9FB8-1DF9461AD4F4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44EB02-9271-6014-7489-E063E934B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0317D-328A-1F8B-89CA-1EB1D0106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234EF0-5C40-43FF-A860-CD9C287885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677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0817964-17AC-B6E0-C22F-2EDFECEED4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6501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0" imgH="411" progId="TCLayout.ActiveDocument.1">
                  <p:embed/>
                </p:oleObj>
              </mc:Choice>
              <mc:Fallback>
                <p:oleObj name="think-cell Slide" r:id="rId38" imgW="410" imgH="41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817964-17AC-B6E0-C22F-2EDFECEED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32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  <p:sldLayoutId id="2147484354" r:id="rId25"/>
    <p:sldLayoutId id="2147484355" r:id="rId26"/>
    <p:sldLayoutId id="2147484356" r:id="rId27"/>
    <p:sldLayoutId id="2147484357" r:id="rId28"/>
    <p:sldLayoutId id="2147484358" r:id="rId29"/>
    <p:sldLayoutId id="2147484359" r:id="rId30"/>
    <p:sldLayoutId id="2147484360" r:id="rId31"/>
    <p:sldLayoutId id="2147484361" r:id="rId32"/>
    <p:sldLayoutId id="2147484362" r:id="rId33"/>
    <p:sldLayoutId id="2147484363" r:id="rId34"/>
    <p:sldLayoutId id="2147484364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jpg"/><Relationship Id="rId7" Type="http://schemas.openxmlformats.org/officeDocument/2006/relationships/image" Target="../media/image3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.jpeg"/><Relationship Id="rId5" Type="http://schemas.openxmlformats.org/officeDocument/2006/relationships/image" Target="../media/image28.jpg"/><Relationship Id="rId4" Type="http://schemas.openxmlformats.org/officeDocument/2006/relationships/image" Target="../media/image27.jp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6.emf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90C1F-1125-3FBA-2F62-823101C29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022" y="1593867"/>
            <a:ext cx="7250062" cy="238760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Roboto"/>
                <a:ea typeface="Roboto"/>
                <a:cs typeface="Roboto"/>
              </a:rPr>
              <a:t>The landscape for pharmacy and how we can change i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BDE79A-A4E0-02B0-858D-1C076F65CD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2022" y="4073542"/>
            <a:ext cx="9293772" cy="512762"/>
          </a:xfrm>
        </p:spPr>
        <p:txBody>
          <a:bodyPr/>
          <a:lstStyle/>
          <a:p>
            <a:r>
              <a:rPr lang="en-GB" dirty="0"/>
              <a:t>Monday 22 Ju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E1E2EA-3341-BEAC-517C-B8EB34DF7AB7}"/>
              </a:ext>
            </a:extLst>
          </p:cNvPr>
          <p:cNvSpPr txBox="1"/>
          <p:nvPr/>
        </p:nvSpPr>
        <p:spPr>
          <a:xfrm>
            <a:off x="402021" y="4843452"/>
            <a:ext cx="967066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ldev Raj Bange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reasur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o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he National Pharmacy Associ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person in a suit&#10;&#10;AI-generated content may be incorrect.">
            <a:extLst>
              <a:ext uri="{FF2B5EF4-FFF2-40B4-BE49-F238E27FC236}">
                <a16:creationId xmlns:a16="http://schemas.microsoft.com/office/drawing/2014/main" id="{667AF13A-83AF-84DF-602C-2F9CBD80BF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2688" y="4394091"/>
            <a:ext cx="2032463" cy="2369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82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07EB5AAB-F0C4-E368-C8AB-5F9CCF972210}"/>
              </a:ext>
            </a:extLst>
          </p:cNvPr>
          <p:cNvSpPr/>
          <p:nvPr/>
        </p:nvSpPr>
        <p:spPr>
          <a:xfrm>
            <a:off x="3044224" y="1305341"/>
            <a:ext cx="611749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 dirty="0">
                <a:ln w="0"/>
                <a:solidFill>
                  <a:prstClr val="white">
                    <a:lumMod val="95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3000" endA="300" endPos="35500" dir="5400000" sy="-90000" algn="bl" rotWithShape="0"/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Campaig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27B5CD-7802-D823-4522-ECD4B427E19B}"/>
              </a:ext>
            </a:extLst>
          </p:cNvPr>
          <p:cNvSpPr/>
          <p:nvPr/>
        </p:nvSpPr>
        <p:spPr>
          <a:xfrm>
            <a:off x="3044224" y="2967335"/>
            <a:ext cx="611749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 dirty="0">
                <a:ln w="0"/>
                <a:solidFill>
                  <a:prstClr val="white">
                    <a:lumMod val="95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3000" endA="300" endPos="35500" dir="5400000" sy="-90000" algn="bl" rotWithShape="0"/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uppor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90D258-6FA0-38E3-168F-23E636F665A1}"/>
              </a:ext>
            </a:extLst>
          </p:cNvPr>
          <p:cNvSpPr/>
          <p:nvPr/>
        </p:nvSpPr>
        <p:spPr>
          <a:xfrm>
            <a:off x="3037252" y="4478956"/>
            <a:ext cx="611749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 dirty="0">
                <a:ln w="0"/>
                <a:solidFill>
                  <a:prstClr val="white">
                    <a:lumMod val="95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3000" endA="300" endPos="35500" dir="5400000" sy="-90000" algn="bl" rotWithShape="0"/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Connect</a:t>
            </a:r>
          </a:p>
        </p:txBody>
      </p:sp>
    </p:spTree>
    <p:extLst>
      <p:ext uri="{BB962C8B-B14F-4D97-AF65-F5344CB8AC3E}">
        <p14:creationId xmlns:p14="http://schemas.microsoft.com/office/powerpoint/2010/main" val="2611989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5C34DE2-4F59-3BD1-F4AD-4AE7F592B78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543" y="138080"/>
            <a:ext cx="6120914" cy="221304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590BFFD-77C4-527C-9101-99B84FE85BF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8268" y="1732695"/>
            <a:ext cx="4013200" cy="26838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097C60E-C604-066B-6473-07154B2D0AC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66000" y="3650826"/>
            <a:ext cx="4155440" cy="2846494"/>
          </a:xfrm>
          <a:prstGeom prst="rect">
            <a:avLst/>
          </a:prstGeom>
        </p:spPr>
      </p:pic>
      <p:pic>
        <p:nvPicPr>
          <p:cNvPr id="5122" name="Picture 2" descr="View image">
            <a:extLst>
              <a:ext uri="{FF2B5EF4-FFF2-40B4-BE49-F238E27FC236}">
                <a16:creationId xmlns:a16="http://schemas.microsoft.com/office/drawing/2014/main" id="{F2FD7679-5A48-B412-AD19-B03C60D5F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4" y="1545182"/>
            <a:ext cx="4772025" cy="265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EAD9C50-001F-A459-F706-D53EC9829B4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4780" y="3981800"/>
            <a:ext cx="3850640" cy="275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538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2275691E-BF29-1C1B-F5C4-D33E862A7B7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9AF3901-7D5D-462F-ACB0-E244C0EB1980}"/>
              </a:ext>
            </a:extLst>
          </p:cNvPr>
          <p:cNvSpPr txBox="1"/>
          <p:nvPr/>
        </p:nvSpPr>
        <p:spPr>
          <a:xfrm>
            <a:off x="2313747" y="2042891"/>
            <a:ext cx="77450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ard-winning Gold Standard NPA Insurance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47976A-194D-5FFD-E517-D105F9274361}"/>
              </a:ext>
            </a:extLst>
          </p:cNvPr>
          <p:cNvSpPr txBox="1"/>
          <p:nvPr/>
        </p:nvSpPr>
        <p:spPr>
          <a:xfrm>
            <a:off x="2922634" y="2754367"/>
            <a:ext cx="693747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lephone Advice Line and NPA Advisory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596A43-4DB9-B913-2E41-7FC1A0AFF741}"/>
              </a:ext>
            </a:extLst>
          </p:cNvPr>
          <p:cNvSpPr txBox="1"/>
          <p:nvPr/>
        </p:nvSpPr>
        <p:spPr>
          <a:xfrm>
            <a:off x="3862611" y="4081372"/>
            <a:ext cx="46889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arning and Development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277CD0-484E-3B15-D743-26B1DC112F30}"/>
              </a:ext>
            </a:extLst>
          </p:cNvPr>
          <p:cNvSpPr txBox="1"/>
          <p:nvPr/>
        </p:nvSpPr>
        <p:spPr>
          <a:xfrm>
            <a:off x="2738329" y="4741380"/>
            <a:ext cx="689592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siness</a:t>
            </a:r>
            <a:r>
              <a:rPr kumimoji="0" lang="en-US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Support and Trusted Partners</a:t>
            </a:r>
            <a:endParaRPr kumimoji="0" lang="en-GB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D8C441-3CC1-5ED5-4E1A-CDD67AE2A312}"/>
              </a:ext>
            </a:extLst>
          </p:cNvPr>
          <p:cNvSpPr txBox="1"/>
          <p:nvPr/>
        </p:nvSpPr>
        <p:spPr>
          <a:xfrm>
            <a:off x="3988620" y="3392135"/>
            <a:ext cx="38695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PA Membership Hub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B49184-05F0-C530-4665-ADBB326EC434}"/>
              </a:ext>
            </a:extLst>
          </p:cNvPr>
          <p:cNvSpPr txBox="1"/>
          <p:nvPr/>
        </p:nvSpPr>
        <p:spPr>
          <a:xfrm>
            <a:off x="4684406" y="5432166"/>
            <a:ext cx="30037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ews and Events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7196A3B-73E5-AF20-A97B-526ABB65A0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80" r="89216"/>
          <a:stretch/>
        </p:blipFill>
        <p:spPr>
          <a:xfrm>
            <a:off x="2096824" y="2042891"/>
            <a:ext cx="252019" cy="52326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89D0165-BA45-B5D3-747C-3BF3DAB4D9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80" r="89216"/>
          <a:stretch/>
        </p:blipFill>
        <p:spPr>
          <a:xfrm>
            <a:off x="4443111" y="5460722"/>
            <a:ext cx="252019" cy="52326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F5E36A9-33E8-8708-174B-D8CCC2F60F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80" r="89216"/>
          <a:stretch/>
        </p:blipFill>
        <p:spPr>
          <a:xfrm>
            <a:off x="2501243" y="4792177"/>
            <a:ext cx="252019" cy="52326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C3F86E3-14E7-041C-AEA0-941DE6F3AB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80" r="89216"/>
          <a:stretch/>
        </p:blipFill>
        <p:spPr>
          <a:xfrm>
            <a:off x="3610592" y="4112126"/>
            <a:ext cx="252019" cy="52326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ED185EA-EED5-D17D-EFEF-335A9F43E5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80" r="89216"/>
          <a:stretch/>
        </p:blipFill>
        <p:spPr>
          <a:xfrm>
            <a:off x="2738329" y="2761813"/>
            <a:ext cx="252019" cy="52326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EBCDE3B-9E2B-94E2-F66C-B594F04FC05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80" r="89216"/>
          <a:stretch/>
        </p:blipFill>
        <p:spPr>
          <a:xfrm>
            <a:off x="3736601" y="3402176"/>
            <a:ext cx="252019" cy="52326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D6966D2-E99C-0EC0-3C51-79A4835EA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5543" y="154835"/>
            <a:ext cx="6120914" cy="221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7976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E926C50-293D-7232-E3A5-8C81981035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5543" y="101600"/>
            <a:ext cx="6120914" cy="22069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BA4428-C3BB-236F-1B60-4E2062F6CF7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877" y="1690636"/>
            <a:ext cx="5046852" cy="3056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0A701BB-E4D6-D3FE-F2A4-FB26E4111D1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3970" y="1690636"/>
            <a:ext cx="5384974" cy="31261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2108C6-761D-5FD5-3F6A-FB3497153A9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1515" y="3746736"/>
            <a:ext cx="2568970" cy="284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3277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098A1B-4B56-82E2-C627-A822EE91D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96789-B1A4-87B8-18AD-840A9FDEF9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022" y="1593867"/>
            <a:ext cx="7250062" cy="2387600"/>
          </a:xfrm>
        </p:spPr>
        <p:txBody>
          <a:bodyPr>
            <a:normAutofit/>
          </a:bodyPr>
          <a:lstStyle/>
          <a:p>
            <a:r>
              <a:rPr lang="en-US" dirty="0">
                <a:latin typeface="Roboto"/>
                <a:ea typeface="Roboto"/>
                <a:cs typeface="Roboto"/>
              </a:rPr>
              <a:t>The contrac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47795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7A97B-5A97-5435-83A2-4A4E6A8C3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460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Community Pharmacy Contractual Framework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CCB20BF-BB4E-06B1-6645-EB6F66106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497" y="1316233"/>
            <a:ext cx="8460821" cy="4816712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s of Service</a:t>
            </a:r>
          </a:p>
          <a:p>
            <a:pPr lvl="1">
              <a:lnSpc>
                <a:spcPct val="120000"/>
              </a:lnSpc>
            </a:pPr>
            <a:r>
              <a:rPr lang="en-GB" sz="1900" b="1" dirty="0">
                <a:latin typeface="Arial" panose="020B0604020202020204" pitchFamily="34" charset="0"/>
                <a:cs typeface="Arial" panose="020B0604020202020204" pitchFamily="34" charset="0"/>
              </a:rPr>
              <a:t>Essential Services 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.g. dispensing with advice,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eRD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, records, support for self care, prescription-linked interventions, disposal, SSP, safeguarding, Discharge Medicines Service</a:t>
            </a:r>
          </a:p>
          <a:p>
            <a:pPr lvl="1">
              <a:lnSpc>
                <a:spcPct val="120000"/>
              </a:lnSpc>
            </a:pPr>
            <a:r>
              <a:rPr lang="en-GB" sz="1900" b="1" dirty="0">
                <a:latin typeface="Arial" panose="020B0604020202020204" pitchFamily="34" charset="0"/>
                <a:cs typeface="Arial" panose="020B0604020202020204" pitchFamily="34" charset="0"/>
              </a:rPr>
              <a:t>Clinical Governance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.g. lead, audits, patient safety &amp; incidents, business continuity, NHS Mail, DSP Toolkit, safeguarding</a:t>
            </a:r>
          </a:p>
          <a:p>
            <a:pPr lvl="1">
              <a:lnSpc>
                <a:spcPct val="120000"/>
              </a:lnSpc>
            </a:pPr>
            <a:r>
              <a:rPr lang="en-GB" sz="1900" b="1" dirty="0">
                <a:latin typeface="Arial" panose="020B0604020202020204" pitchFamily="34" charset="0"/>
                <a:cs typeface="Arial" panose="020B0604020202020204" pitchFamily="34" charset="0"/>
              </a:rPr>
              <a:t>Healthy Living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.g. health champions, outreach health promotion, campaign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 Services (national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 opt in)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New Medicines Service, Vaccinations (flu), Contraception, Hypertension case finding, </a:t>
            </a:r>
            <a:r>
              <a:rPr lang="en-GB" sz="1800" dirty="0">
                <a:solidFill>
                  <a:schemeClr val="tx2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y First* 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(urgent medicines, minor illness +7 clinical pathways), Smoking Cessation on Discharge, LFT, Appliance Use Review, Stoma Customisation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d Services (local)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.g. COVID vaccine, health checks, prescribing (also Local Authority commissioning of supervised consumption, needle exchange, chlamydia testing etc)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y Quality Scheme (opt in)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.g. inhaler technique, overuse of β- agonists, antimicrobial stewardship, palliative care medicines access, clinical audit of Pharmacy Firs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y Access Scheme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mall payment for being only pharmacy in a geography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C4386EF-B0AC-660E-A2DF-E8A807E853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4389" y="1748793"/>
            <a:ext cx="2372765" cy="3360414"/>
          </a:xfrm>
          <a:prstGeom prst="rect">
            <a:avLst/>
          </a:prstGeom>
          <a:ln>
            <a:solidFill>
              <a:schemeClr val="accent1">
                <a:shade val="15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DDBFF3-5670-F56D-E8E0-F06A746C0A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7959" y="4511690"/>
            <a:ext cx="1724266" cy="17623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20EF255-09E2-8BD5-90B4-8AE721EA4EB1}"/>
              </a:ext>
            </a:extLst>
          </p:cNvPr>
          <p:cNvSpPr txBox="1"/>
          <p:nvPr/>
        </p:nvSpPr>
        <p:spPr>
          <a:xfrm>
            <a:off x="1244748" y="6274061"/>
            <a:ext cx="80896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harmacist prescribing to be added to Pharmacy First in Autumn 2026</a:t>
            </a:r>
          </a:p>
        </p:txBody>
      </p:sp>
    </p:spTree>
    <p:extLst>
      <p:ext uri="{BB962C8B-B14F-4D97-AF65-F5344CB8AC3E}">
        <p14:creationId xmlns:p14="http://schemas.microsoft.com/office/powerpoint/2010/main" val="1537015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52DF6-F1E7-3F1E-5692-BABF1E841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05096"/>
            <a:ext cx="10515600" cy="1325563"/>
          </a:xfrm>
        </p:spPr>
        <p:txBody>
          <a:bodyPr/>
          <a:lstStyle/>
          <a:p>
            <a:r>
              <a:rPr lang="en-GB" dirty="0"/>
              <a:t>Pharmacy Contrac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171593-5FEA-4BB5-C861-4109F761A1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4400" y="1525818"/>
            <a:ext cx="5181600" cy="3416639"/>
          </a:xfr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>
            <a:normAutofit fontScale="62500" lnSpcReduction="20000"/>
          </a:bodyPr>
          <a:lstStyle/>
          <a:p>
            <a:endParaRPr lang="en-GB" sz="1800" dirty="0">
              <a:solidFill>
                <a:schemeClr val="bg1"/>
              </a:solidFill>
            </a:endParaRPr>
          </a:p>
          <a:p>
            <a:r>
              <a:rPr lang="en-GB" sz="1800" dirty="0">
                <a:solidFill>
                  <a:schemeClr val="bg1"/>
                </a:solidFill>
              </a:rPr>
              <a:t>Items dispensed per pharmacy up 37% in 10 years.</a:t>
            </a:r>
          </a:p>
          <a:p>
            <a:r>
              <a:rPr lang="en-GB" sz="1800" dirty="0">
                <a:solidFill>
                  <a:schemeClr val="bg1"/>
                </a:solidFill>
              </a:rPr>
              <a:t>~1100 pharmacy closures in past 10 years.</a:t>
            </a:r>
          </a:p>
          <a:p>
            <a:r>
              <a:rPr lang="en-GB" sz="1800" dirty="0">
                <a:solidFill>
                  <a:schemeClr val="bg1"/>
                </a:solidFill>
              </a:rPr>
              <a:t>Clinical services absorbed within negative real terms funding growth*.</a:t>
            </a:r>
          </a:p>
          <a:p>
            <a:r>
              <a:rPr lang="en-GB" sz="1800" dirty="0">
                <a:solidFill>
                  <a:schemeClr val="bg1"/>
                </a:solidFill>
              </a:rPr>
              <a:t>May not substitute suitable alternative e.g. caps for tabs without reissued prescription.</a:t>
            </a:r>
          </a:p>
          <a:p>
            <a:r>
              <a:rPr lang="en-GB" sz="1800" dirty="0">
                <a:solidFill>
                  <a:schemeClr val="bg1"/>
                </a:solidFill>
              </a:rPr>
              <a:t>Pharmacies must purchase all medicines and are retrospectively reimbursed. </a:t>
            </a:r>
          </a:p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3F501E-8531-6A54-1B2A-3578D032BC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42788" y="1525818"/>
            <a:ext cx="5181600" cy="3416639"/>
          </a:xfr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 fontScale="62500" lnSpcReduction="20000"/>
          </a:bodyPr>
          <a:lstStyle/>
          <a:p>
            <a:endParaRPr lang="en-GB" sz="2400" dirty="0">
              <a:solidFill>
                <a:schemeClr val="bg1"/>
              </a:solidFill>
            </a:endParaRPr>
          </a:p>
          <a:p>
            <a:r>
              <a:rPr lang="en-GB" sz="2400" dirty="0">
                <a:solidFill>
                  <a:schemeClr val="bg1"/>
                </a:solidFill>
              </a:rPr>
              <a:t>No NHS pension</a:t>
            </a:r>
          </a:p>
          <a:p>
            <a:r>
              <a:rPr lang="en-GB" sz="2400" dirty="0">
                <a:solidFill>
                  <a:schemeClr val="bg1"/>
                </a:solidFill>
              </a:rPr>
              <a:t>No government indemnity</a:t>
            </a:r>
          </a:p>
          <a:p>
            <a:r>
              <a:rPr lang="en-GB" sz="2400" dirty="0">
                <a:solidFill>
                  <a:schemeClr val="bg1"/>
                </a:solidFill>
              </a:rPr>
              <a:t>No core IT (provider pays)</a:t>
            </a:r>
          </a:p>
          <a:p>
            <a:r>
              <a:rPr lang="en-GB" sz="2400" dirty="0">
                <a:solidFill>
                  <a:schemeClr val="bg1"/>
                </a:solidFill>
              </a:rPr>
              <a:t>No premises costs or rates relief</a:t>
            </a:r>
          </a:p>
          <a:p>
            <a:r>
              <a:rPr lang="en-GB" sz="2400" dirty="0">
                <a:solidFill>
                  <a:schemeClr val="bg1"/>
                </a:solidFill>
              </a:rPr>
              <a:t>No ARRS staff funding</a:t>
            </a:r>
          </a:p>
          <a:p>
            <a:r>
              <a:rPr lang="en-GB" sz="2400" dirty="0">
                <a:solidFill>
                  <a:schemeClr val="bg1"/>
                </a:solidFill>
              </a:rPr>
              <a:t>Can provide private services.</a:t>
            </a:r>
          </a:p>
          <a:p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F1D7C4-E9D2-2E24-3F51-96E213F6B03A}"/>
              </a:ext>
            </a:extLst>
          </p:cNvPr>
          <p:cNvSpPr txBox="1"/>
          <p:nvPr/>
        </p:nvSpPr>
        <p:spPr>
          <a:xfrm>
            <a:off x="914400" y="5123068"/>
            <a:ext cx="4273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t 10 years CPCF fixed sum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4013497-CC01-F9CB-B554-60BE4F38DC3A}"/>
              </a:ext>
            </a:extLst>
          </p:cNvPr>
          <p:cNvGraphicFramePr>
            <a:graphicFrameLocks noGrp="1"/>
          </p:cNvGraphicFramePr>
          <p:nvPr/>
        </p:nvGraphicFramePr>
        <p:xfrm>
          <a:off x="914400" y="5673010"/>
          <a:ext cx="10709990" cy="9198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0629">
                  <a:extLst>
                    <a:ext uri="{9D8B030D-6E8A-4147-A177-3AD203B41FA5}">
                      <a16:colId xmlns:a16="http://schemas.microsoft.com/office/drawing/2014/main" val="3890281725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602018108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2103865200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3100564764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3074014076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4013581055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3961512739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3629980803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2061286526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3619411713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3633042382"/>
                    </a:ext>
                  </a:extLst>
                </a:gridCol>
                <a:gridCol w="810851">
                  <a:extLst>
                    <a:ext uri="{9D8B030D-6E8A-4147-A177-3AD203B41FA5}">
                      <a16:colId xmlns:a16="http://schemas.microsoft.com/office/drawing/2014/main" val="1365290859"/>
                    </a:ext>
                  </a:extLst>
                </a:gridCol>
              </a:tblGrid>
              <a:tr h="19570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 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16/17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17/1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18/1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19/20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0/21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1/2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2/23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3/24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4/25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5/26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26/27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05892874"/>
                  </a:ext>
                </a:extLst>
              </a:tr>
              <a:tr h="33269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>
                          <a:effectLst/>
                        </a:rPr>
                        <a:t>Year-on-year uplif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4.0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3.5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chemeClr val="accent3"/>
                          </a:solidFill>
                          <a:effectLst/>
                        </a:rPr>
                        <a:t>4.1%</a:t>
                      </a:r>
                      <a:endParaRPr lang="en-GB" sz="1100" b="0" i="0" u="none" strike="noStrike" dirty="0">
                        <a:solidFill>
                          <a:schemeClr val="accent3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chemeClr val="accent3"/>
                          </a:solidFill>
                          <a:effectLst/>
                        </a:rPr>
                        <a:t>15.0%</a:t>
                      </a:r>
                      <a:endParaRPr lang="en-GB" sz="1100" b="0" i="0" u="none" strike="noStrike" dirty="0">
                        <a:solidFill>
                          <a:schemeClr val="accent3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chemeClr val="accent3"/>
                          </a:solidFill>
                          <a:effectLst/>
                        </a:rPr>
                        <a:t>10.3%</a:t>
                      </a:r>
                      <a:endParaRPr lang="en-GB" sz="1100" b="0" i="0" u="none" strike="noStrike" dirty="0">
                        <a:solidFill>
                          <a:schemeClr val="accent3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9983913"/>
                  </a:ext>
                </a:extLst>
              </a:tr>
              <a:tr h="39141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Real terms uplift year on year*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5.9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4.7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2.2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2.6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5.0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0.2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6.6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5.0%</a:t>
                      </a:r>
                      <a:endParaRPr lang="en-GB" sz="1100" b="0" i="0" u="none" strike="noStrike" dirty="0">
                        <a:solidFill>
                          <a:srgbClr val="FF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effectLst/>
                        </a:rPr>
                        <a:t>0.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chemeClr val="accent3"/>
                          </a:solidFill>
                          <a:effectLst/>
                        </a:rPr>
                        <a:t>11.4%</a:t>
                      </a:r>
                      <a:endParaRPr lang="en-GB" sz="1100" b="0" i="0" u="none" strike="noStrike" dirty="0">
                        <a:solidFill>
                          <a:schemeClr val="accent3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GB" sz="1100" u="none" strike="noStrike" dirty="0">
                          <a:solidFill>
                            <a:schemeClr val="accent3"/>
                          </a:solidFill>
                          <a:effectLst/>
                        </a:rPr>
                        <a:t>8.1%</a:t>
                      </a:r>
                      <a:endParaRPr lang="en-GB" sz="1100" b="0" i="0" u="none" strike="noStrike" dirty="0">
                        <a:solidFill>
                          <a:schemeClr val="accent3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4418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58360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EEC76-25FB-852C-BF7F-B876DC0A2C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D66E9-F35E-A79E-CDE6-A4D753DD49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022" y="1593867"/>
            <a:ext cx="9293772" cy="2387600"/>
          </a:xfrm>
        </p:spPr>
        <p:txBody>
          <a:bodyPr>
            <a:normAutofit/>
          </a:bodyPr>
          <a:lstStyle/>
          <a:p>
            <a:r>
              <a:rPr lang="en-US" dirty="0">
                <a:latin typeface="Roboto"/>
                <a:ea typeface="Roboto"/>
                <a:cs typeface="Roboto"/>
              </a:rPr>
              <a:t>Thank you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CAE977-D903-A1A2-928A-B815BB4CD1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2022" y="4073542"/>
            <a:ext cx="9293772" cy="512762"/>
          </a:xfrm>
        </p:spPr>
        <p:txBody>
          <a:bodyPr/>
          <a:lstStyle/>
          <a:p>
            <a:r>
              <a:rPr lang="en-GB" dirty="0"/>
              <a:t>Sunday 28 June</a:t>
            </a:r>
          </a:p>
        </p:txBody>
      </p:sp>
    </p:spTree>
    <p:extLst>
      <p:ext uri="{BB962C8B-B14F-4D97-AF65-F5344CB8AC3E}">
        <p14:creationId xmlns:p14="http://schemas.microsoft.com/office/powerpoint/2010/main" val="25994533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5E975F-9133-812B-802A-E0D771D7B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7931C78E-454D-B3A9-DAA1-86545119E46E}"/>
              </a:ext>
            </a:extLst>
          </p:cNvPr>
          <p:cNvSpPr txBox="1">
            <a:spLocks/>
          </p:cNvSpPr>
          <p:nvPr/>
        </p:nvSpPr>
        <p:spPr>
          <a:xfrm>
            <a:off x="890815" y="1167080"/>
            <a:ext cx="11146287" cy="286232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lk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l – 0753901229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243487E-712B-EE3F-D73B-6825C3451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727" y="392034"/>
            <a:ext cx="7201700" cy="646331"/>
          </a:xfrm>
        </p:spPr>
        <p:txBody>
          <a:bodyPr/>
          <a:lstStyle/>
          <a:p>
            <a:r>
              <a:rPr lang="en-US" sz="4000" dirty="0"/>
              <a:t>What Next…</a:t>
            </a:r>
          </a:p>
        </p:txBody>
      </p:sp>
    </p:spTree>
    <p:extLst>
      <p:ext uri="{BB962C8B-B14F-4D97-AF65-F5344CB8AC3E}">
        <p14:creationId xmlns:p14="http://schemas.microsoft.com/office/powerpoint/2010/main" val="542591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37880EE-86DD-DF4F-9E44-17B6766F720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4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479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0BB9F-81D3-1604-DC4E-AB8F90DB4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lose-up of a sign on a building&#10;&#10;AI-generated content may be incorrect.">
            <a:extLst>
              <a:ext uri="{FF2B5EF4-FFF2-40B4-BE49-F238E27FC236}">
                <a16:creationId xmlns:a16="http://schemas.microsoft.com/office/drawing/2014/main" id="{296CB26A-11CE-AA14-85C0-675296E7C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930" y="1137269"/>
            <a:ext cx="3066627" cy="2044418"/>
          </a:xfrm>
          <a:prstGeom prst="rect">
            <a:avLst/>
          </a:prstGeom>
        </p:spPr>
      </p:pic>
      <p:pic>
        <p:nvPicPr>
          <p:cNvPr id="5" name="Picture 4" descr="A hospital sign and a building&#10;&#10;AI-generated content may be incorrect.">
            <a:extLst>
              <a:ext uri="{FF2B5EF4-FFF2-40B4-BE49-F238E27FC236}">
                <a16:creationId xmlns:a16="http://schemas.microsoft.com/office/drawing/2014/main" id="{04A36DB5-B30F-9149-2082-66212E837C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5308" y="4346479"/>
            <a:ext cx="2251803" cy="1692378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737233DC-08CD-0E4B-1F5F-46794952EAB7}"/>
              </a:ext>
            </a:extLst>
          </p:cNvPr>
          <p:cNvSpPr/>
          <p:nvPr/>
        </p:nvSpPr>
        <p:spPr>
          <a:xfrm rot="10800000">
            <a:off x="2492178" y="4698522"/>
            <a:ext cx="1006764" cy="98829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group of people walking on a street&#10;&#10;AI-generated content may be incorrect.">
            <a:extLst>
              <a:ext uri="{FF2B5EF4-FFF2-40B4-BE49-F238E27FC236}">
                <a16:creationId xmlns:a16="http://schemas.microsoft.com/office/drawing/2014/main" id="{B7295316-4054-4CC6-5FDC-61A52551D8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65" y="4346479"/>
            <a:ext cx="2370102" cy="1692377"/>
          </a:xfrm>
          <a:prstGeom prst="rect">
            <a:avLst/>
          </a:prstGeom>
        </p:spPr>
      </p:pic>
      <p:pic>
        <p:nvPicPr>
          <p:cNvPr id="4" name="Picture 3" descr="A pile of pills and tablets&#10;&#10;AI-generated content may be incorrect.">
            <a:extLst>
              <a:ext uri="{FF2B5EF4-FFF2-40B4-BE49-F238E27FC236}">
                <a16:creationId xmlns:a16="http://schemas.microsoft.com/office/drawing/2014/main" id="{94D9AC0A-3200-68D6-4719-7AABB3DFFB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2455" y="1299595"/>
            <a:ext cx="2114742" cy="185182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E072718-B6B7-CA52-4B42-E86E463E3B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5559" y="3236842"/>
            <a:ext cx="7431638" cy="923330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Roboto"/>
                <a:ea typeface="Roboto"/>
                <a:cs typeface="Roboto"/>
              </a:rPr>
              <a:t>Our landscape</a:t>
            </a:r>
          </a:p>
        </p:txBody>
      </p:sp>
      <p:pic>
        <p:nvPicPr>
          <p:cNvPr id="10" name="Picture 9" descr="A hand holding a digital screen&#10;&#10;AI-generated content may be incorrect.">
            <a:extLst>
              <a:ext uri="{FF2B5EF4-FFF2-40B4-BE49-F238E27FC236}">
                <a16:creationId xmlns:a16="http://schemas.microsoft.com/office/drawing/2014/main" id="{EF2A24E9-5F47-1200-8738-3F71C48AAA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9936" y="665338"/>
            <a:ext cx="2724918" cy="20444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8C10716-9DDD-E8B6-D4FA-5508A205DA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9678" y="4698522"/>
            <a:ext cx="2370103" cy="1562114"/>
          </a:xfrm>
          <a:prstGeom prst="rect">
            <a:avLst/>
          </a:prstGeom>
        </p:spPr>
      </p:pic>
      <p:pic>
        <p:nvPicPr>
          <p:cNvPr id="14" name="Picture 13" descr="A drone flying in the sky&#10;&#10;AI-generated content may be incorrect.">
            <a:extLst>
              <a:ext uri="{FF2B5EF4-FFF2-40B4-BE49-F238E27FC236}">
                <a16:creationId xmlns:a16="http://schemas.microsoft.com/office/drawing/2014/main" id="{AB4B6103-028D-23D1-B47A-18196E8D9377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298" t="12282" r="18803" b="11892"/>
          <a:stretch>
            <a:fillRect/>
          </a:stretch>
        </p:blipFill>
        <p:spPr>
          <a:xfrm>
            <a:off x="9266118" y="3463776"/>
            <a:ext cx="2694890" cy="139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805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396884-BF7C-FF46-7FC8-50F7D9223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A68C3AD-9448-F26D-1720-494E6AA6ACA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085279" y="5486868"/>
            <a:ext cx="745764" cy="2724322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E8C52CEF-2525-E086-E7E5-3181ECABF8FE}"/>
              </a:ext>
            </a:extLst>
          </p:cNvPr>
          <p:cNvSpPr txBox="1">
            <a:spLocks/>
          </p:cNvSpPr>
          <p:nvPr/>
        </p:nvSpPr>
        <p:spPr>
          <a:xfrm>
            <a:off x="1642413" y="408514"/>
            <a:ext cx="9838373" cy="6463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ent uplifts in England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A2F8BAC-A7CC-CDDC-4163-374F49EDB912}"/>
              </a:ext>
            </a:extLst>
          </p:cNvPr>
          <p:cNvSpPr/>
          <p:nvPr/>
        </p:nvSpPr>
        <p:spPr>
          <a:xfrm>
            <a:off x="7856489" y="5341620"/>
            <a:ext cx="1843771" cy="613519"/>
          </a:xfrm>
          <a:prstGeom prst="ellipse">
            <a:avLst/>
          </a:prstGeom>
          <a:noFill/>
          <a:ln w="31750">
            <a:solidFill>
              <a:schemeClr val="accent2">
                <a:alpha val="97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D1AFDE-1455-D934-81C7-234C9867C4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0396" y="1347261"/>
            <a:ext cx="7471207" cy="4868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964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8C678C-0F6E-F894-7AB4-DCA2DC718E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389505F-05DD-2A18-235F-14FF16C781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085279" y="5486868"/>
            <a:ext cx="745764" cy="2724322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70EDB33-9076-F916-BD22-83CBCD95242C}"/>
              </a:ext>
            </a:extLst>
          </p:cNvPr>
          <p:cNvSpPr txBox="1">
            <a:spLocks/>
          </p:cNvSpPr>
          <p:nvPr/>
        </p:nvSpPr>
        <p:spPr>
          <a:xfrm>
            <a:off x="1176813" y="338238"/>
            <a:ext cx="9838373" cy="6463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t still short of what is required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02263BB-BAD8-55C0-5516-20CCAEA2A47D}"/>
              </a:ext>
            </a:extLst>
          </p:cNvPr>
          <p:cNvSpPr/>
          <p:nvPr/>
        </p:nvSpPr>
        <p:spPr>
          <a:xfrm>
            <a:off x="7856489" y="5341620"/>
            <a:ext cx="1843771" cy="613519"/>
          </a:xfrm>
          <a:prstGeom prst="ellipse">
            <a:avLst/>
          </a:prstGeom>
          <a:noFill/>
          <a:ln w="31750">
            <a:solidFill>
              <a:schemeClr val="accent2">
                <a:alpha val="97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594AC5-6911-0E1F-9BEC-9359DA1A84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3926" y="1176894"/>
            <a:ext cx="8084146" cy="5299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203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0185E54-3B46-B6BC-EF29-6EC60F92D3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9956" y="1896247"/>
            <a:ext cx="10955462" cy="37859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1CD83F-ABAA-6181-C9F5-62B8EE93BF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4831" y="116061"/>
            <a:ext cx="9242337" cy="178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8893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00FD5F-2C25-1AB8-5070-FCFAFEB2E1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E4F9471-13CD-982F-836E-AC63D2D9D14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085279" y="5486868"/>
            <a:ext cx="745764" cy="2724322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4DE452D4-FF2A-CCE1-0180-27D7EBFABF2B}"/>
              </a:ext>
            </a:extLst>
          </p:cNvPr>
          <p:cNvSpPr txBox="1">
            <a:spLocks/>
          </p:cNvSpPr>
          <p:nvPr/>
        </p:nvSpPr>
        <p:spPr>
          <a:xfrm>
            <a:off x="1088231" y="715540"/>
            <a:ext cx="9838373" cy="6463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fit Generated in NHS Dispensing &amp; Services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011E42D-56F2-1ECF-3C3B-2252C641A0A8}"/>
              </a:ext>
            </a:extLst>
          </p:cNvPr>
          <p:cNvGraphicFramePr>
            <a:graphicFrameLocks noGrp="1"/>
          </p:cNvGraphicFramePr>
          <p:nvPr/>
        </p:nvGraphicFramePr>
        <p:xfrm>
          <a:off x="1246028" y="1387956"/>
          <a:ext cx="9451976" cy="4421078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5656755">
                  <a:extLst>
                    <a:ext uri="{9D8B030D-6E8A-4147-A177-3AD203B41FA5}">
                      <a16:colId xmlns:a16="http://schemas.microsoft.com/office/drawing/2014/main" val="1435039762"/>
                    </a:ext>
                  </a:extLst>
                </a:gridCol>
                <a:gridCol w="3795221">
                  <a:extLst>
                    <a:ext uri="{9D8B030D-6E8A-4147-A177-3AD203B41FA5}">
                      <a16:colId xmlns:a16="http://schemas.microsoft.com/office/drawing/2014/main" val="643382963"/>
                    </a:ext>
                  </a:extLst>
                </a:gridCol>
              </a:tblGrid>
              <a:tr h="323303">
                <a:tc gridSpan="2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Profit &amp; Loss Report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2841539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Purchase Profit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£69,760.44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3286984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000" u="none" strike="noStrike" dirty="0">
                          <a:effectLst/>
                        </a:rPr>
                        <a:t>Fees and NHS Services Incom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£154,744.05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02345878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u="none" strike="noStrike" dirty="0">
                          <a:effectLst/>
                        </a:rPr>
                        <a:t>Total NHS Income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u="none" strike="noStrike" dirty="0">
                          <a:effectLst/>
                        </a:rPr>
                        <a:t>£224,504.49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42238807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95122457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 </a:t>
                      </a:r>
                      <a:r>
                        <a:rPr lang="en-US" sz="2000" u="none" strike="noStrike" dirty="0">
                          <a:effectLst/>
                        </a:rPr>
                        <a:t>Staff Costs Associated with NHS Dispensing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>
                          <a:effectLst/>
                        </a:rPr>
                        <a:t>£222,935.90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21965596"/>
                  </a:ext>
                </a:extLst>
              </a:tr>
              <a:tr h="54144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0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Profit (excluding Flu and Covid)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£1,568.59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5287657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her Costs (90%)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£53,555.70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1198332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0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Loss (excluding Flu and Covid)</a:t>
                      </a:r>
                      <a:endParaRPr lang="en-US" sz="20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b="1" u="none" strike="noStrike">
                          <a:solidFill>
                            <a:srgbClr val="C00000"/>
                          </a:solidFill>
                          <a:effectLst/>
                        </a:rPr>
                        <a:t>-£51,987.10</a:t>
                      </a:r>
                      <a:endParaRPr lang="en-GB" sz="20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35365064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 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6252430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000" u="none" strike="noStrike">
                          <a:effectLst/>
                        </a:rPr>
                        <a:t>Flu and Covid Vaccination Income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£32,739.58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92128291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u="none" strike="noStrike" dirty="0">
                          <a:effectLst/>
                        </a:rPr>
                        <a:t> 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11928769"/>
                  </a:ext>
                </a:extLst>
              </a:tr>
              <a:tr h="3233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0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Loss (Including Flu and Covid)</a:t>
                      </a:r>
                      <a:endParaRPr lang="en-US" sz="20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20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-£19,247.53</a:t>
                      </a:r>
                      <a:endParaRPr lang="en-GB" sz="20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68323207"/>
                  </a:ext>
                </a:extLst>
              </a:tr>
            </a:tbl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22947D4E-BB90-63D8-EDEF-D8F826DBDDF6}"/>
              </a:ext>
            </a:extLst>
          </p:cNvPr>
          <p:cNvSpPr/>
          <p:nvPr/>
        </p:nvSpPr>
        <p:spPr>
          <a:xfrm>
            <a:off x="7856489" y="5341620"/>
            <a:ext cx="1843771" cy="613519"/>
          </a:xfrm>
          <a:prstGeom prst="ellipse">
            <a:avLst/>
          </a:prstGeom>
          <a:noFill/>
          <a:ln w="31750">
            <a:solidFill>
              <a:schemeClr val="accent2">
                <a:alpha val="97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F462576A-F3DE-323C-4FFF-60E26150BD4E}"/>
              </a:ext>
            </a:extLst>
          </p:cNvPr>
          <p:cNvSpPr/>
          <p:nvPr/>
        </p:nvSpPr>
        <p:spPr>
          <a:xfrm>
            <a:off x="383381" y="3561080"/>
            <a:ext cx="768350" cy="31115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3EDE692C-5B6B-E1ED-8AF6-F0F9AA1C4C73}"/>
              </a:ext>
            </a:extLst>
          </p:cNvPr>
          <p:cNvSpPr/>
          <p:nvPr/>
        </p:nvSpPr>
        <p:spPr>
          <a:xfrm>
            <a:off x="383381" y="4221480"/>
            <a:ext cx="768350" cy="31115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9F64F5A5-ACD2-70A0-BED2-6BDCA99815C6}"/>
              </a:ext>
            </a:extLst>
          </p:cNvPr>
          <p:cNvSpPr/>
          <p:nvPr/>
        </p:nvSpPr>
        <p:spPr>
          <a:xfrm>
            <a:off x="319881" y="5497884"/>
            <a:ext cx="768350" cy="31115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62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2275691E-BF29-1C1B-F5C4-D33E862A7B7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763" y="6215827"/>
            <a:ext cx="2336972" cy="490961"/>
          </a:xfrm>
          <a:prstGeom prst="rect">
            <a:avLst/>
          </a:prstGeom>
        </p:spPr>
      </p:pic>
      <p:pic>
        <p:nvPicPr>
          <p:cNvPr id="3" name="Picture 2" descr="A screenshot of a website&#10;&#10;AI-generated content may be incorrect.">
            <a:extLst>
              <a:ext uri="{FF2B5EF4-FFF2-40B4-BE49-F238E27FC236}">
                <a16:creationId xmlns:a16="http://schemas.microsoft.com/office/drawing/2014/main" id="{03CD5074-151F-7AFC-25E2-8117426E3C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6481" y="293078"/>
            <a:ext cx="4561732" cy="6174153"/>
          </a:xfrm>
          <a:prstGeom prst="rect">
            <a:avLst/>
          </a:prstGeom>
        </p:spPr>
      </p:pic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7F51104-53BD-973D-C1F6-EA2E51A8E4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-1200000">
            <a:off x="321042" y="1236052"/>
            <a:ext cx="4848225" cy="1162050"/>
          </a:xfrm>
          <a:prstGeom prst="rect">
            <a:avLst/>
          </a:prstGeom>
        </p:spPr>
      </p:pic>
      <p:pic>
        <p:nvPicPr>
          <p:cNvPr id="6" name="Picture 5" descr="A person and person looking at a computer screen&#10;&#10;AI-generated content may be incorrect.">
            <a:extLst>
              <a:ext uri="{FF2B5EF4-FFF2-40B4-BE49-F238E27FC236}">
                <a16:creationId xmlns:a16="http://schemas.microsoft.com/office/drawing/2014/main" id="{914C9A70-AF20-A4B7-DE35-18F6A62C78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-1440000">
            <a:off x="624293" y="3571500"/>
            <a:ext cx="3216520" cy="1926249"/>
          </a:xfrm>
          <a:prstGeom prst="rect">
            <a:avLst/>
          </a:prstGeom>
        </p:spPr>
      </p:pic>
      <p:pic>
        <p:nvPicPr>
          <p:cNvPr id="7" name="Picture 6" descr="Blue text on a white background&#10;&#10;AI-generated content may be incorrect.">
            <a:extLst>
              <a:ext uri="{FF2B5EF4-FFF2-40B4-BE49-F238E27FC236}">
                <a16:creationId xmlns:a16="http://schemas.microsoft.com/office/drawing/2014/main" id="{47723814-F406-39B8-C4E9-A741037B57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440000">
            <a:off x="3310671" y="2464900"/>
            <a:ext cx="4105275" cy="2143125"/>
          </a:xfrm>
          <a:prstGeom prst="rect">
            <a:avLst/>
          </a:prstGeom>
        </p:spPr>
      </p:pic>
      <p:pic>
        <p:nvPicPr>
          <p:cNvPr id="8" name="Picture 7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021F034-D528-2F0C-E6F3-46D0B2C62B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140000">
            <a:off x="3736152" y="4855207"/>
            <a:ext cx="2281604" cy="1672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8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5F7342C-67DE-C558-6C39-B392630AA0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FECE50E4-EBC2-EEA5-7943-C457EC798704}"/>
              </a:ext>
            </a:extLst>
          </p:cNvPr>
          <p:cNvSpPr txBox="1">
            <a:spLocks/>
          </p:cNvSpPr>
          <p:nvPr/>
        </p:nvSpPr>
        <p:spPr>
          <a:xfrm>
            <a:off x="1088231" y="715540"/>
            <a:ext cx="9838373" cy="6463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tract reform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Rectangle: Top Corners One Rounded and One Snipped 3">
            <a:extLst>
              <a:ext uri="{FF2B5EF4-FFF2-40B4-BE49-F238E27FC236}">
                <a16:creationId xmlns:a16="http://schemas.microsoft.com/office/drawing/2014/main" id="{23E3509F-05F9-3214-0898-33144000694C}"/>
              </a:ext>
            </a:extLst>
          </p:cNvPr>
          <p:cNvSpPr/>
          <p:nvPr/>
        </p:nvSpPr>
        <p:spPr>
          <a:xfrm>
            <a:off x="521071" y="1583654"/>
            <a:ext cx="2256853" cy="1238491"/>
          </a:xfrm>
          <a:prstGeom prst="snipRoundRec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ed generics</a:t>
            </a:r>
          </a:p>
        </p:txBody>
      </p:sp>
      <p:sp>
        <p:nvSpPr>
          <p:cNvPr id="5" name="Rectangle: Top Corners One Rounded and One Snipped 4">
            <a:extLst>
              <a:ext uri="{FF2B5EF4-FFF2-40B4-BE49-F238E27FC236}">
                <a16:creationId xmlns:a16="http://schemas.microsoft.com/office/drawing/2014/main" id="{5E5A0EF3-71C5-8D58-4FD3-01C1625A5858}"/>
              </a:ext>
            </a:extLst>
          </p:cNvPr>
          <p:cNvSpPr/>
          <p:nvPr/>
        </p:nvSpPr>
        <p:spPr>
          <a:xfrm>
            <a:off x="279933" y="4903969"/>
            <a:ext cx="2256853" cy="1238491"/>
          </a:xfrm>
          <a:prstGeom prst="snipRound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of alignment with GP contract</a:t>
            </a:r>
          </a:p>
        </p:txBody>
      </p:sp>
      <p:sp>
        <p:nvSpPr>
          <p:cNvPr id="6" name="Rectangle: Top Corners One Rounded and One Snipped 5">
            <a:extLst>
              <a:ext uri="{FF2B5EF4-FFF2-40B4-BE49-F238E27FC236}">
                <a16:creationId xmlns:a16="http://schemas.microsoft.com/office/drawing/2014/main" id="{41D0B726-1ADC-9E39-FE64-F6A140B86077}"/>
              </a:ext>
            </a:extLst>
          </p:cNvPr>
          <p:cNvSpPr/>
          <p:nvPr/>
        </p:nvSpPr>
        <p:spPr>
          <a:xfrm>
            <a:off x="4429652" y="1463272"/>
            <a:ext cx="2256853" cy="1238491"/>
          </a:xfrm>
          <a:prstGeom prst="snip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equitable delivery of margin</a:t>
            </a:r>
          </a:p>
        </p:txBody>
      </p:sp>
      <p:sp>
        <p:nvSpPr>
          <p:cNvPr id="7" name="Rectangle: Top Corners One Rounded and One Snipped 6">
            <a:extLst>
              <a:ext uri="{FF2B5EF4-FFF2-40B4-BE49-F238E27FC236}">
                <a16:creationId xmlns:a16="http://schemas.microsoft.com/office/drawing/2014/main" id="{709B5CAE-84E4-48AB-824C-8568F4976166}"/>
              </a:ext>
            </a:extLst>
          </p:cNvPr>
          <p:cNvSpPr/>
          <p:nvPr/>
        </p:nvSpPr>
        <p:spPr>
          <a:xfrm>
            <a:off x="1088231" y="3203300"/>
            <a:ext cx="2256853" cy="1238491"/>
          </a:xfrm>
          <a:prstGeom prst="snip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 variation risk carried by pharmacy</a:t>
            </a:r>
          </a:p>
        </p:txBody>
      </p:sp>
      <p:sp>
        <p:nvSpPr>
          <p:cNvPr id="8" name="Rectangle: Top Corners One Rounded and One Snipped 7">
            <a:extLst>
              <a:ext uri="{FF2B5EF4-FFF2-40B4-BE49-F238E27FC236}">
                <a16:creationId xmlns:a16="http://schemas.microsoft.com/office/drawing/2014/main" id="{0EACC798-34E1-3E67-5B65-704A0CE386C5}"/>
              </a:ext>
            </a:extLst>
          </p:cNvPr>
          <p:cNvSpPr/>
          <p:nvPr/>
        </p:nvSpPr>
        <p:spPr>
          <a:xfrm>
            <a:off x="8231043" y="1340698"/>
            <a:ext cx="2256853" cy="1238491"/>
          </a:xfrm>
          <a:prstGeom prst="snipRoundRec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wback</a:t>
            </a:r>
          </a:p>
        </p:txBody>
      </p:sp>
      <p:sp>
        <p:nvSpPr>
          <p:cNvPr id="9" name="Rectangle: Top Corners One Rounded and One Snipped 8">
            <a:extLst>
              <a:ext uri="{FF2B5EF4-FFF2-40B4-BE49-F238E27FC236}">
                <a16:creationId xmlns:a16="http://schemas.microsoft.com/office/drawing/2014/main" id="{9A73E8B5-ACE4-B19F-3C17-8A14F9F72D12}"/>
              </a:ext>
            </a:extLst>
          </p:cNvPr>
          <p:cNvSpPr/>
          <p:nvPr/>
        </p:nvSpPr>
        <p:spPr>
          <a:xfrm>
            <a:off x="6852998" y="2960402"/>
            <a:ext cx="2256853" cy="1238491"/>
          </a:xfrm>
          <a:prstGeom prst="snip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iance on referrals for clinical services</a:t>
            </a:r>
          </a:p>
        </p:txBody>
      </p:sp>
      <p:sp>
        <p:nvSpPr>
          <p:cNvPr id="10" name="Rectangle: Top Corners One Rounded and One Snipped 9">
            <a:extLst>
              <a:ext uri="{FF2B5EF4-FFF2-40B4-BE49-F238E27FC236}">
                <a16:creationId xmlns:a16="http://schemas.microsoft.com/office/drawing/2014/main" id="{AF58B664-282E-91F2-867C-80DB3EC4D514}"/>
              </a:ext>
            </a:extLst>
          </p:cNvPr>
          <p:cNvSpPr/>
          <p:nvPr/>
        </p:nvSpPr>
        <p:spPr>
          <a:xfrm>
            <a:off x="3325740" y="5125749"/>
            <a:ext cx="2256853" cy="1238491"/>
          </a:xfrm>
          <a:prstGeom prst="snipRoundRec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trictions on amending prescriptions</a:t>
            </a:r>
          </a:p>
        </p:txBody>
      </p:sp>
      <p:sp>
        <p:nvSpPr>
          <p:cNvPr id="11" name="Rectangle: Top Corners One Rounded and One Snipped 10">
            <a:extLst>
              <a:ext uri="{FF2B5EF4-FFF2-40B4-BE49-F238E27FC236}">
                <a16:creationId xmlns:a16="http://schemas.microsoft.com/office/drawing/2014/main" id="{766A8E7C-79F8-A758-7E7A-5308493739B7}"/>
              </a:ext>
            </a:extLst>
          </p:cNvPr>
          <p:cNvSpPr/>
          <p:nvPr/>
        </p:nvSpPr>
        <p:spPr>
          <a:xfrm>
            <a:off x="9688323" y="3366384"/>
            <a:ext cx="2256853" cy="1238491"/>
          </a:xfrm>
          <a:prstGeom prst="snipRound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cine shortages</a:t>
            </a:r>
          </a:p>
        </p:txBody>
      </p:sp>
      <p:sp>
        <p:nvSpPr>
          <p:cNvPr id="12" name="Rectangle: Top Corners One Rounded and One Snipped 11">
            <a:extLst>
              <a:ext uri="{FF2B5EF4-FFF2-40B4-BE49-F238E27FC236}">
                <a16:creationId xmlns:a16="http://schemas.microsoft.com/office/drawing/2014/main" id="{301D863C-F642-E10A-B1B7-978734E38EC8}"/>
              </a:ext>
            </a:extLst>
          </p:cNvPr>
          <p:cNvSpPr/>
          <p:nvPr/>
        </p:nvSpPr>
        <p:spPr>
          <a:xfrm>
            <a:off x="8917661" y="5125750"/>
            <a:ext cx="2256853" cy="1238491"/>
          </a:xfrm>
          <a:prstGeom prst="snip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ding fails to cover costs</a:t>
            </a:r>
          </a:p>
        </p:txBody>
      </p:sp>
      <p:sp>
        <p:nvSpPr>
          <p:cNvPr id="14" name="Rectangle: Top Corners One Rounded and One Snipped 13">
            <a:extLst>
              <a:ext uri="{FF2B5EF4-FFF2-40B4-BE49-F238E27FC236}">
                <a16:creationId xmlns:a16="http://schemas.microsoft.com/office/drawing/2014/main" id="{8C1392C9-311E-127B-B504-8EF31854C590}"/>
              </a:ext>
            </a:extLst>
          </p:cNvPr>
          <p:cNvSpPr/>
          <p:nvPr/>
        </p:nvSpPr>
        <p:spPr>
          <a:xfrm>
            <a:off x="3923556" y="3119377"/>
            <a:ext cx="2256853" cy="1238491"/>
          </a:xfrm>
          <a:prstGeom prst="snipRound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 in volume</a:t>
            </a:r>
          </a:p>
        </p:txBody>
      </p:sp>
      <p:sp>
        <p:nvSpPr>
          <p:cNvPr id="15" name="Rectangle: Top Corners One Rounded and One Snipped 14">
            <a:extLst>
              <a:ext uri="{FF2B5EF4-FFF2-40B4-BE49-F238E27FC236}">
                <a16:creationId xmlns:a16="http://schemas.microsoft.com/office/drawing/2014/main" id="{2FCF39CE-44C5-3C19-AB72-FC0F0577C490}"/>
              </a:ext>
            </a:extLst>
          </p:cNvPr>
          <p:cNvSpPr/>
          <p:nvPr/>
        </p:nvSpPr>
        <p:spPr>
          <a:xfrm>
            <a:off x="6371547" y="4884758"/>
            <a:ext cx="2256853" cy="1238491"/>
          </a:xfrm>
          <a:prstGeom prst="snipRound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pensing at a loss</a:t>
            </a:r>
          </a:p>
        </p:txBody>
      </p:sp>
    </p:spTree>
    <p:extLst>
      <p:ext uri="{BB962C8B-B14F-4D97-AF65-F5344CB8AC3E}">
        <p14:creationId xmlns:p14="http://schemas.microsoft.com/office/powerpoint/2010/main" val="2580931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Roboto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</TotalTime>
  <Words>1202</Words>
  <Application>Microsoft Office PowerPoint</Application>
  <PresentationFormat>Widescreen</PresentationFormat>
  <Paragraphs>221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6" baseType="lpstr">
      <vt:lpstr>Aptos</vt:lpstr>
      <vt:lpstr>Aptos Narrow</vt:lpstr>
      <vt:lpstr>Arial</vt:lpstr>
      <vt:lpstr>Arial Narrow</vt:lpstr>
      <vt:lpstr>Calibri</vt:lpstr>
      <vt:lpstr>Calibri Light</vt:lpstr>
      <vt:lpstr>Georgia</vt:lpstr>
      <vt:lpstr>Helvetica Neue</vt:lpstr>
      <vt:lpstr>Roboto</vt:lpstr>
      <vt:lpstr>Roboto Condensed</vt:lpstr>
      <vt:lpstr>System Font Regular</vt:lpstr>
      <vt:lpstr>Wingdings</vt:lpstr>
      <vt:lpstr>5_Office Theme</vt:lpstr>
      <vt:lpstr>3_Office Theme</vt:lpstr>
      <vt:lpstr>4_Office Theme</vt:lpstr>
      <vt:lpstr>6_Office Theme</vt:lpstr>
      <vt:lpstr>IQVIA_V3.0.0</vt:lpstr>
      <vt:lpstr>think-cell Slide</vt:lpstr>
      <vt:lpstr>The landscape for pharmacy and how we can change it</vt:lpstr>
      <vt:lpstr>PowerPoint Presentation</vt:lpstr>
      <vt:lpstr>Our landscap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ontract</vt:lpstr>
      <vt:lpstr>Community Pharmacy Contractual Framework</vt:lpstr>
      <vt:lpstr>Pharmacy Contract </vt:lpstr>
      <vt:lpstr>Thank you</vt:lpstr>
      <vt:lpstr>What Next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ngrid Cruickshank</dc:creator>
  <cp:lastModifiedBy>Ann-Marie Carrey</cp:lastModifiedBy>
  <cp:revision>6</cp:revision>
  <dcterms:created xsi:type="dcterms:W3CDTF">2026-06-16T13:59:37Z</dcterms:created>
  <dcterms:modified xsi:type="dcterms:W3CDTF">2026-07-02T10:36:18Z</dcterms:modified>
</cp:coreProperties>
</file>